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theme/theme2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heme/theme3.xml" ContentType="application/vnd.openxmlformats-officedocument.theme+xml"/>
  <Override PartName="/ppt/tags/tag30.xml" ContentType="application/vnd.openxmlformats-officedocument.presentationml.tags+xml"/>
  <Override PartName="/ppt/notesSlides/notesSlide1.xml" ContentType="application/vnd.openxmlformats-officedocument.presentationml.notesSlide+xml"/>
  <Override PartName="/ppt/tags/tag31.xml" ContentType="application/vnd.openxmlformats-officedocument.presentationml.tags+xml"/>
  <Override PartName="/ppt/notesSlides/notesSlide2.xml" ContentType="application/vnd.openxmlformats-officedocument.presentationml.notesSlide+xml"/>
  <Override PartName="/ppt/tags/tag32.xml" ContentType="application/vnd.openxmlformats-officedocument.presentationml.tags+xml"/>
  <Override PartName="/ppt/notesSlides/notesSlide3.xml" ContentType="application/vnd.openxmlformats-officedocument.presentationml.notesSlide+xml"/>
  <Override PartName="/ppt/tags/tag33.xml" ContentType="application/vnd.openxmlformats-officedocument.presentationml.tags+xml"/>
  <Override PartName="/ppt/notesSlides/notesSlide4.xml" ContentType="application/vnd.openxmlformats-officedocument.presentationml.notesSlide+xml"/>
  <Override PartName="/ppt/tags/tag34.xml" ContentType="application/vnd.openxmlformats-officedocument.presentationml.tags+xml"/>
  <Override PartName="/ppt/notesSlides/notesSlide5.xml" ContentType="application/vnd.openxmlformats-officedocument.presentationml.notesSlide+xml"/>
  <Override PartName="/ppt/tags/tag35.xml" ContentType="application/vnd.openxmlformats-officedocument.presentationml.tags+xml"/>
  <Override PartName="/ppt/notesSlides/notesSlide6.xml" ContentType="application/vnd.openxmlformats-officedocument.presentationml.notesSlide+xml"/>
  <Override PartName="/ppt/tags/tag36.xml" ContentType="application/vnd.openxmlformats-officedocument.presentationml.tags+xml"/>
  <Override PartName="/ppt/notesSlides/notesSlide7.xml" ContentType="application/vnd.openxmlformats-officedocument.presentationml.notesSlide+xml"/>
  <Override PartName="/ppt/tags/tag37.xml" ContentType="application/vnd.openxmlformats-officedocument.presentationml.tags+xml"/>
  <Override PartName="/ppt/notesSlides/notesSlide8.xml" ContentType="application/vnd.openxmlformats-officedocument.presentationml.notesSlide+xml"/>
  <Override PartName="/ppt/tags/tag38.xml" ContentType="application/vnd.openxmlformats-officedocument.presentationml.tags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  <p:sldMasterId id="2147483777" r:id="rId2"/>
  </p:sldMasterIdLst>
  <p:notesMasterIdLst>
    <p:notesMasterId r:id="rId12"/>
  </p:notesMasterIdLst>
  <p:sldIdLst>
    <p:sldId id="838840814" r:id="rId3"/>
    <p:sldId id="838840810" r:id="rId4"/>
    <p:sldId id="838840822" r:id="rId5"/>
    <p:sldId id="838840821" r:id="rId6"/>
    <p:sldId id="838840815" r:id="rId7"/>
    <p:sldId id="838840819" r:id="rId8"/>
    <p:sldId id="838840818" r:id="rId9"/>
    <p:sldId id="838840813" r:id="rId10"/>
    <p:sldId id="838840820" r:id="rId11"/>
  </p:sldIdLst>
  <p:sldSz cx="12192000" cy="6858000"/>
  <p:notesSz cx="6858000" cy="9144000"/>
  <p:custDataLst>
    <p:tags r:id="rId13"/>
  </p:custDataLst>
  <p:defaultTextStyle>
    <a:defPPr>
      <a:defRPr lang="en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946"/>
    <p:restoredTop sz="94648"/>
  </p:normalViewPr>
  <p:slideViewPr>
    <p:cSldViewPr snapToGrid="0">
      <p:cViewPr varScale="1">
        <p:scale>
          <a:sx n="117" d="100"/>
          <a:sy n="117" d="100"/>
        </p:scale>
        <p:origin x="288" y="1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ags" Target="tags/tag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DB7DA4C-EC1C-B745-BAAD-57171FA84435}" type="datetimeFigureOut">
              <a:rPr lang="da-DK" smtClean="0"/>
              <a:t>30.03.2023</a:t>
            </a:fld>
            <a:endParaRPr lang="da-DK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4C3B156-2DAC-8F4F-87CB-E58D25F40AA8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4669579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idehoved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B5BBD8-B235-4B6C-8A11-2B193697DD1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329765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idehoved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B5BBD8-B235-4B6C-8A11-2B193697DD1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271317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idehoved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B5BBD8-B235-4B6C-8A11-2B193697DD1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8723957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idehoved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B5BBD8-B235-4B6C-8A11-2B193697DD1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0795515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idehoved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B5BBD8-B235-4B6C-8A11-2B193697DD1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502904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idehoved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B5BBD8-B235-4B6C-8A11-2B193697DD1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8873915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idehoved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B5BBD8-B235-4B6C-8A11-2B193697DD1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513367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idehoved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B5BBD8-B235-4B6C-8A11-2B193697DD1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0266348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idehoved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B5BBD8-B235-4B6C-8A11-2B193697DD1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288725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1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1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1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1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1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5" Type="http://schemas.openxmlformats.org/officeDocument/2006/relationships/image" Target="../media/image2.png"/><Relationship Id="rId4" Type="http://schemas.openxmlformats.org/officeDocument/2006/relationships/image" Target="../media/image34.png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video" Target="../media/media3.mp4"/><Relationship Id="rId1" Type="http://schemas.microsoft.com/office/2007/relationships/media" Target="../media/media3.mp4"/><Relationship Id="rId5" Type="http://schemas.openxmlformats.org/officeDocument/2006/relationships/image" Target="../media/image2.png"/><Relationship Id="rId4" Type="http://schemas.openxmlformats.org/officeDocument/2006/relationships/image" Target="../media/image35.png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36.emf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37.emf"/><Relationship Id="rId4" Type="http://schemas.openxmlformats.org/officeDocument/2006/relationships/oleObject" Target="../embeddings/oleObject13.bin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1.emf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oleObject" Target="../embeddings/oleObject19.bin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2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2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2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2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2.xml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2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2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2.xml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2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2.xml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2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2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2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2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2.xml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2.xml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5" Type="http://schemas.openxmlformats.org/officeDocument/2006/relationships/image" Target="../media/image2.png"/><Relationship Id="rId4" Type="http://schemas.openxmlformats.org/officeDocument/2006/relationships/image" Target="../media/image34.png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3.mp4"/><Relationship Id="rId1" Type="http://schemas.microsoft.com/office/2007/relationships/media" Target="../media/media3.mp4"/><Relationship Id="rId5" Type="http://schemas.openxmlformats.org/officeDocument/2006/relationships/image" Target="../media/image2.png"/><Relationship Id="rId4" Type="http://schemas.openxmlformats.org/officeDocument/2006/relationships/image" Target="../media/image35.pn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2.xml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2.xml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2.xml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2.xml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2.xml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2.xml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2.xml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2.xml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2.xml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2.xml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2.xml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2.xml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2.xml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2.xml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2.xml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5" Type="http://schemas.openxmlformats.org/officeDocument/2006/relationships/image" Target="../media/image2.png"/><Relationship Id="rId4" Type="http://schemas.openxmlformats.org/officeDocument/2006/relationships/image" Target="../media/image34.png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3.mp4"/><Relationship Id="rId1" Type="http://schemas.microsoft.com/office/2007/relationships/media" Target="../media/media3.mp4"/><Relationship Id="rId5" Type="http://schemas.openxmlformats.org/officeDocument/2006/relationships/image" Target="../media/image2.png"/><Relationship Id="rId4" Type="http://schemas.openxmlformats.org/officeDocument/2006/relationships/image" Target="../media/image35.png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Relationship Id="rId4" Type="http://schemas.openxmlformats.org/officeDocument/2006/relationships/image" Target="../media/image36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oleObject" Target="../embeddings/oleObject6.bin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5" Type="http://schemas.openxmlformats.org/officeDocument/2006/relationships/image" Target="../media/image37.emf"/><Relationship Id="rId4" Type="http://schemas.openxmlformats.org/officeDocument/2006/relationships/oleObject" Target="../embeddings/oleObject26.bin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5" Type="http://schemas.openxmlformats.org/officeDocument/2006/relationships/image" Target="../media/image2.png"/><Relationship Id="rId4" Type="http://schemas.openxmlformats.org/officeDocument/2006/relationships/image" Target="../media/image34.png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video" Target="../media/media3.mp4"/><Relationship Id="rId1" Type="http://schemas.microsoft.com/office/2007/relationships/media" Target="../media/media3.mp4"/><Relationship Id="rId5" Type="http://schemas.openxmlformats.org/officeDocument/2006/relationships/image" Target="../media/image2.png"/><Relationship Id="rId4" Type="http://schemas.openxmlformats.org/officeDocument/2006/relationships/image" Target="../media/image35.png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1) Forside - Intro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DE115998-8EEC-F14C-8A06-E224BD904D2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8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48934" y="1927328"/>
            <a:ext cx="1894132" cy="1877822"/>
          </a:xfrm>
          <a:prstGeom prst="rect">
            <a:avLst/>
          </a:prstGeom>
        </p:spPr>
      </p:pic>
      <p:sp>
        <p:nvSpPr>
          <p:cNvPr id="6" name="Rektangel 5">
            <a:extLst>
              <a:ext uri="{FF2B5EF4-FFF2-40B4-BE49-F238E27FC236}">
                <a16:creationId xmlns:a16="http://schemas.microsoft.com/office/drawing/2014/main" id="{0AE144C8-0C64-2E48-BD19-B340504ED30E}"/>
              </a:ext>
            </a:extLst>
          </p:cNvPr>
          <p:cNvSpPr/>
          <p:nvPr userDrawn="1"/>
        </p:nvSpPr>
        <p:spPr>
          <a:xfrm>
            <a:off x="0" y="6714895"/>
            <a:ext cx="12192000" cy="180000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02884CE6-2E01-4949-BAD6-196A401BB85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14400" y="5506051"/>
            <a:ext cx="10363200" cy="198541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titel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CD9EFE38-74B0-2C43-8B3B-DBBFECFD80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4688490"/>
            <a:ext cx="10363200" cy="817561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0150EF21-A222-474E-9F0D-36BD39F2EB1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11226" y="4243457"/>
            <a:ext cx="10369550" cy="417513"/>
          </a:xfrm>
        </p:spPr>
        <p:txBody>
          <a:bodyPr/>
          <a:lstStyle>
            <a:lvl1pPr marL="0" indent="0" algn="ctr">
              <a:buNone/>
              <a:defRPr sz="3600" spc="300">
                <a:solidFill>
                  <a:srgbClr val="FEC315"/>
                </a:solidFill>
                <a:latin typeface="Manus" pitchFamily="2" charset="77"/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  <a:lvl4pPr marL="1371635" indent="0">
              <a:buNone/>
              <a:defRPr/>
            </a:lvl4pPr>
            <a:lvl5pPr marL="1828847" indent="0">
              <a:buNone/>
              <a:defRPr/>
            </a:lvl5pPr>
          </a:lstStyle>
          <a:p>
            <a:pPr lvl="0"/>
            <a:r>
              <a:rPr lang="da-DK"/>
              <a:t>Klik for at redigere dato</a:t>
            </a:r>
          </a:p>
        </p:txBody>
      </p:sp>
    </p:spTree>
    <p:extLst>
      <p:ext uri="{BB962C8B-B14F-4D97-AF65-F5344CB8AC3E}">
        <p14:creationId xmlns:p14="http://schemas.microsoft.com/office/powerpoint/2010/main" val="472154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7) Indhold - Tre emner med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914399" y="1736726"/>
            <a:ext cx="3240000" cy="2717399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22" name="Pladsholder til tekst 3"/>
          <p:cNvSpPr>
            <a:spLocks noGrp="1"/>
          </p:cNvSpPr>
          <p:nvPr>
            <p:ph type="body" sz="quarter" idx="25" hasCustomPrompt="1"/>
          </p:nvPr>
        </p:nvSpPr>
        <p:spPr>
          <a:xfrm>
            <a:off x="914399" y="4589755"/>
            <a:ext cx="3240000" cy="254724"/>
          </a:xfrm>
        </p:spPr>
        <p:txBody>
          <a:bodyPr anchor="b">
            <a:noAutofit/>
          </a:bodyPr>
          <a:lstStyle>
            <a:lvl1pPr marL="0" indent="0" algn="ctr">
              <a:buNone/>
              <a:defRPr sz="1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23" name="Pladsholder til tekst 3"/>
          <p:cNvSpPr>
            <a:spLocks noGrp="1"/>
          </p:cNvSpPr>
          <p:nvPr>
            <p:ph type="body" sz="quarter" idx="26" hasCustomPrompt="1"/>
          </p:nvPr>
        </p:nvSpPr>
        <p:spPr>
          <a:xfrm>
            <a:off x="914399" y="4993802"/>
            <a:ext cx="3240000" cy="1059239"/>
          </a:xfrm>
        </p:spPr>
        <p:txBody>
          <a:bodyPr/>
          <a:lstStyle>
            <a:lvl1pPr marL="0" indent="0" algn="ctr">
              <a:buNone/>
              <a:defRPr sz="14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7181481A-2E88-8D46-9166-9ED669A4243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262972"/>
            <a:ext cx="10363200" cy="198541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47" name="Title Placeholder 1">
            <a:extLst>
              <a:ext uri="{FF2B5EF4-FFF2-40B4-BE49-F238E27FC236}">
                <a16:creationId xmlns:a16="http://schemas.microsoft.com/office/drawing/2014/main" id="{611C7174-4E01-3847-B4C4-CCC7A05178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432001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da-DK" noProof="0"/>
              <a:t>Klik for at redigere overskrift</a:t>
            </a:r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BB17A48F-D994-4545-B295-8EE8A5B21356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8037600" y="1741586"/>
            <a:ext cx="3240000" cy="2717399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9" name="Pladsholder til tekst 3">
            <a:extLst>
              <a:ext uri="{FF2B5EF4-FFF2-40B4-BE49-F238E27FC236}">
                <a16:creationId xmlns:a16="http://schemas.microsoft.com/office/drawing/2014/main" id="{3CD64D60-5E84-7243-BF34-2F21889536C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037600" y="4594615"/>
            <a:ext cx="3240000" cy="254724"/>
          </a:xfrm>
        </p:spPr>
        <p:txBody>
          <a:bodyPr anchor="b">
            <a:noAutofit/>
          </a:bodyPr>
          <a:lstStyle>
            <a:lvl1pPr marL="0" indent="0" algn="ctr">
              <a:buNone/>
              <a:defRPr sz="1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20" name="Pladsholder til tekst 3">
            <a:extLst>
              <a:ext uri="{FF2B5EF4-FFF2-40B4-BE49-F238E27FC236}">
                <a16:creationId xmlns:a16="http://schemas.microsoft.com/office/drawing/2014/main" id="{F8FD379B-FB93-9441-B85B-2A8E307B6CF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037600" y="4998662"/>
            <a:ext cx="3240000" cy="1059239"/>
          </a:xfrm>
        </p:spPr>
        <p:txBody>
          <a:bodyPr/>
          <a:lstStyle>
            <a:lvl1pPr marL="0" indent="0" algn="ctr">
              <a:buNone/>
              <a:defRPr sz="14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F2BF2CA4-3ABA-C14B-868D-D7653200FBC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4475999" y="1741586"/>
            <a:ext cx="3240000" cy="2717399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24" name="Pladsholder til tekst 3">
            <a:extLst>
              <a:ext uri="{FF2B5EF4-FFF2-40B4-BE49-F238E27FC236}">
                <a16:creationId xmlns:a16="http://schemas.microsoft.com/office/drawing/2014/main" id="{0F516A20-06BF-E442-B335-3C7FA7EEC87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75999" y="4594615"/>
            <a:ext cx="3240000" cy="254724"/>
          </a:xfrm>
        </p:spPr>
        <p:txBody>
          <a:bodyPr anchor="b">
            <a:noAutofit/>
          </a:bodyPr>
          <a:lstStyle>
            <a:lvl1pPr marL="0" indent="0" algn="ctr">
              <a:buNone/>
              <a:defRPr sz="1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25" name="Pladsholder til tekst 3">
            <a:extLst>
              <a:ext uri="{FF2B5EF4-FFF2-40B4-BE49-F238E27FC236}">
                <a16:creationId xmlns:a16="http://schemas.microsoft.com/office/drawing/2014/main" id="{8D48806D-8505-8F46-82F5-E496FD91153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475999" y="4998662"/>
            <a:ext cx="3240000" cy="1059239"/>
          </a:xfrm>
        </p:spPr>
        <p:txBody>
          <a:bodyPr/>
          <a:lstStyle>
            <a:lvl1pPr marL="0" indent="0" algn="ctr">
              <a:buNone/>
              <a:defRPr sz="14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</p:spTree>
    <p:extLst>
      <p:ext uri="{BB962C8B-B14F-4D97-AF65-F5344CB8AC3E}">
        <p14:creationId xmlns:p14="http://schemas.microsoft.com/office/powerpoint/2010/main" val="3304085618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19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250" name="Picture 2" descr="D:\Opgaver\EDC Marts 2020\Powerpointskabelon\billeder\ppt_billede_familie_paa_fremvisning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" y="-1"/>
            <a:ext cx="12192001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870897823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20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led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201" y="0"/>
            <a:ext cx="12195201" cy="6860598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402424681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21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201" y="0"/>
            <a:ext cx="12195201" cy="6860598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497448624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22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led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201" y="0"/>
            <a:ext cx="12195201" cy="6860598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898654117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23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201" y="0"/>
            <a:ext cx="12195201" cy="6860598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272394868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24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33" y="0"/>
            <a:ext cx="12185335" cy="6860598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62173496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25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33" y="0"/>
            <a:ext cx="12185335" cy="6860598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954434216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26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33" y="0"/>
            <a:ext cx="12185335" cy="6860598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888703329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27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33" y="3174"/>
            <a:ext cx="12185335" cy="6854250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365249505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28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34" y="3174"/>
            <a:ext cx="12185333" cy="6854250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71044462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8) Indhold - Fire emner med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914400" y="1736726"/>
            <a:ext cx="2489813" cy="2717399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22" name="Pladsholder til tekst 3"/>
          <p:cNvSpPr>
            <a:spLocks noGrp="1"/>
          </p:cNvSpPr>
          <p:nvPr>
            <p:ph type="body" sz="quarter" idx="25" hasCustomPrompt="1"/>
          </p:nvPr>
        </p:nvSpPr>
        <p:spPr>
          <a:xfrm>
            <a:off x="914400" y="4589754"/>
            <a:ext cx="2489813" cy="522073"/>
          </a:xfrm>
        </p:spPr>
        <p:txBody>
          <a:bodyPr anchor="b">
            <a:noAutofit/>
          </a:bodyPr>
          <a:lstStyle>
            <a:lvl1pPr marL="0" indent="0" algn="ctr">
              <a:buNone/>
              <a:defRPr sz="1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23" name="Pladsholder til tekst 3"/>
          <p:cNvSpPr>
            <a:spLocks noGrp="1"/>
          </p:cNvSpPr>
          <p:nvPr>
            <p:ph type="body" sz="quarter" idx="26" hasCustomPrompt="1"/>
          </p:nvPr>
        </p:nvSpPr>
        <p:spPr>
          <a:xfrm>
            <a:off x="914400" y="5255046"/>
            <a:ext cx="2489813" cy="797994"/>
          </a:xfrm>
        </p:spPr>
        <p:txBody>
          <a:bodyPr/>
          <a:lstStyle>
            <a:lvl1pPr marL="0" indent="0" algn="ctr">
              <a:buNone/>
              <a:defRPr sz="14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7181481A-2E88-8D46-9166-9ED669A4243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262972"/>
            <a:ext cx="10363200" cy="198541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47" name="Title Placeholder 1">
            <a:extLst>
              <a:ext uri="{FF2B5EF4-FFF2-40B4-BE49-F238E27FC236}">
                <a16:creationId xmlns:a16="http://schemas.microsoft.com/office/drawing/2014/main" id="{611C7174-4E01-3847-B4C4-CCC7A05178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432001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da-DK" noProof="0"/>
              <a:t>Klik for at redigere overskrift</a:t>
            </a:r>
          </a:p>
        </p:txBody>
      </p:sp>
      <p:sp>
        <p:nvSpPr>
          <p:cNvPr id="32" name="Picture Placeholder 2">
            <a:extLst>
              <a:ext uri="{FF2B5EF4-FFF2-40B4-BE49-F238E27FC236}">
                <a16:creationId xmlns:a16="http://schemas.microsoft.com/office/drawing/2014/main" id="{FDD04CEF-7D9C-8948-BB80-84CBD6883B2E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3536415" y="1736726"/>
            <a:ext cx="2489813" cy="2717399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33" name="Pladsholder til tekst 3">
            <a:extLst>
              <a:ext uri="{FF2B5EF4-FFF2-40B4-BE49-F238E27FC236}">
                <a16:creationId xmlns:a16="http://schemas.microsoft.com/office/drawing/2014/main" id="{5A670000-BB61-BA43-9264-CF80E8D587F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536415" y="4589754"/>
            <a:ext cx="2489813" cy="522073"/>
          </a:xfrm>
        </p:spPr>
        <p:txBody>
          <a:bodyPr anchor="b">
            <a:noAutofit/>
          </a:bodyPr>
          <a:lstStyle>
            <a:lvl1pPr marL="0" indent="0" algn="ctr">
              <a:buNone/>
              <a:defRPr sz="1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34" name="Pladsholder til tekst 3">
            <a:extLst>
              <a:ext uri="{FF2B5EF4-FFF2-40B4-BE49-F238E27FC236}">
                <a16:creationId xmlns:a16="http://schemas.microsoft.com/office/drawing/2014/main" id="{510D0D61-2A94-C641-AF7F-1939034B0E4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536415" y="5255046"/>
            <a:ext cx="2489813" cy="797994"/>
          </a:xfrm>
        </p:spPr>
        <p:txBody>
          <a:bodyPr/>
          <a:lstStyle>
            <a:lvl1pPr marL="0" indent="0" algn="ctr">
              <a:buNone/>
              <a:defRPr sz="14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  <p:sp>
        <p:nvSpPr>
          <p:cNvPr id="35" name="Picture Placeholder 2">
            <a:extLst>
              <a:ext uri="{FF2B5EF4-FFF2-40B4-BE49-F238E27FC236}">
                <a16:creationId xmlns:a16="http://schemas.microsoft.com/office/drawing/2014/main" id="{1EEF1836-630A-ED4C-AA72-492EBBF1F1D4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6158429" y="1736726"/>
            <a:ext cx="2489813" cy="2717399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36" name="Pladsholder til tekst 3">
            <a:extLst>
              <a:ext uri="{FF2B5EF4-FFF2-40B4-BE49-F238E27FC236}">
                <a16:creationId xmlns:a16="http://schemas.microsoft.com/office/drawing/2014/main" id="{60A7BF55-D661-1B49-A75A-2AFEC993EB9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58429" y="4589754"/>
            <a:ext cx="2489813" cy="522073"/>
          </a:xfrm>
        </p:spPr>
        <p:txBody>
          <a:bodyPr anchor="b">
            <a:noAutofit/>
          </a:bodyPr>
          <a:lstStyle>
            <a:lvl1pPr marL="0" indent="0" algn="ctr">
              <a:buNone/>
              <a:defRPr sz="1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37" name="Pladsholder til tekst 3">
            <a:extLst>
              <a:ext uri="{FF2B5EF4-FFF2-40B4-BE49-F238E27FC236}">
                <a16:creationId xmlns:a16="http://schemas.microsoft.com/office/drawing/2014/main" id="{A7183FB7-2D78-0549-8399-95B2098D9D6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58429" y="5255046"/>
            <a:ext cx="2489813" cy="797994"/>
          </a:xfrm>
        </p:spPr>
        <p:txBody>
          <a:bodyPr/>
          <a:lstStyle>
            <a:lvl1pPr marL="0" indent="0" algn="ctr">
              <a:buNone/>
              <a:defRPr sz="14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  <p:sp>
        <p:nvSpPr>
          <p:cNvPr id="38" name="Picture Placeholder 2">
            <a:extLst>
              <a:ext uri="{FF2B5EF4-FFF2-40B4-BE49-F238E27FC236}">
                <a16:creationId xmlns:a16="http://schemas.microsoft.com/office/drawing/2014/main" id="{C3DE3EA4-C122-6240-AC72-734A6ED03D18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8780444" y="1736726"/>
            <a:ext cx="2489813" cy="2717399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39" name="Pladsholder til tekst 3">
            <a:extLst>
              <a:ext uri="{FF2B5EF4-FFF2-40B4-BE49-F238E27FC236}">
                <a16:creationId xmlns:a16="http://schemas.microsoft.com/office/drawing/2014/main" id="{4FA0CD1F-D261-4842-9F8D-2C88F5579B0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780444" y="4589754"/>
            <a:ext cx="2489813" cy="522073"/>
          </a:xfrm>
        </p:spPr>
        <p:txBody>
          <a:bodyPr anchor="b">
            <a:noAutofit/>
          </a:bodyPr>
          <a:lstStyle>
            <a:lvl1pPr marL="0" indent="0" algn="ctr">
              <a:buNone/>
              <a:defRPr sz="1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40" name="Pladsholder til tekst 3">
            <a:extLst>
              <a:ext uri="{FF2B5EF4-FFF2-40B4-BE49-F238E27FC236}">
                <a16:creationId xmlns:a16="http://schemas.microsoft.com/office/drawing/2014/main" id="{BB55047B-EB92-F94B-92A8-D91C9C2BCC1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780444" y="5255046"/>
            <a:ext cx="2489813" cy="797994"/>
          </a:xfrm>
        </p:spPr>
        <p:txBody>
          <a:bodyPr/>
          <a:lstStyle>
            <a:lvl1pPr marL="0" indent="0" algn="ctr">
              <a:buNone/>
              <a:defRPr sz="14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</p:spTree>
    <p:extLst>
      <p:ext uri="{BB962C8B-B14F-4D97-AF65-F5344CB8AC3E}">
        <p14:creationId xmlns:p14="http://schemas.microsoft.com/office/powerpoint/2010/main" val="484788000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29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34" y="3175"/>
            <a:ext cx="12185333" cy="6854249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037103133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30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Umage_1_video_1920x1080_7-3" descr="Umage_1_video_1920x1080_7-3">
            <a:hlinkClick r:id="" action="ppaction://media"/>
            <a:extLst>
              <a:ext uri="{FF2B5EF4-FFF2-40B4-BE49-F238E27FC236}">
                <a16:creationId xmlns:a16="http://schemas.microsoft.com/office/drawing/2014/main" id="{7DC1A101-C4D9-A546-96D4-D7FAD68CA968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-4048" y="1"/>
            <a:ext cx="12196048" cy="6871013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0469242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0000" fill="hold"/>
                                        <p:tgtEl>
                                          <p:spTgt spid="1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11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1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1"/>
                  </p:tgtEl>
                </p:cond>
              </p:nextCondLst>
            </p:seq>
            <p:video>
              <p:cMediaNode vol="80000" mute="1">
                <p:cTn id="12" repeatCount="indefinite" fill="hold" display="0">
                  <p:stCondLst>
                    <p:cond delay="indefinite"/>
                  </p:stCondLst>
                </p:cTn>
                <p:tgtEl>
                  <p:spTgt spid="11"/>
                </p:tgtEl>
              </p:cMediaNode>
            </p:video>
          </p:childTnLst>
        </p:cTn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31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Umage_1_video_1920x1080_7-4" descr="Umage_1_video_1920x1080_7-4">
            <a:hlinkClick r:id="" action="ppaction://media"/>
            <a:extLst>
              <a:ext uri="{FF2B5EF4-FFF2-40B4-BE49-F238E27FC236}">
                <a16:creationId xmlns:a16="http://schemas.microsoft.com/office/drawing/2014/main" id="{E5C58D9B-5A43-B947-A80D-165D5224DA91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-1297"/>
            <a:ext cx="12192000" cy="6868732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3812741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0000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10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0"/>
                  </p:tgtEl>
                </p:cond>
              </p:nextCondLst>
            </p:seq>
            <p:video>
              <p:cMediaNode vol="80000" mute="1">
                <p:cTn id="12" repeatCount="indefinite" fill="hold" display="0">
                  <p:stCondLst>
                    <p:cond delay="indefinite"/>
                  </p:stCondLst>
                </p:cTn>
                <p:tgtEl>
                  <p:spTgt spid="10"/>
                </p:tgtEl>
              </p:cMediaNode>
            </p:video>
          </p:childTnLst>
        </p:cTn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82594777"/>
              </p:ext>
            </p:extLst>
          </p:nvPr>
        </p:nvGraphicFramePr>
        <p:xfrm>
          <a:off x="2118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 vert="horz" anchor="ctr" anchorCtr="0"/>
          <a:lstStyle>
            <a:lvl1pPr algn="r">
              <a:defRPr sz="900">
                <a:solidFill>
                  <a:srgbClr val="004454"/>
                </a:solidFill>
                <a:latin typeface="+mn-lt"/>
              </a:defRPr>
            </a:lvl1pPr>
          </a:lstStyle>
          <a:p>
            <a:fld id="{892EE196-DDA1-41FD-83E0-096904DE06E3}" type="slidenum">
              <a:rPr lang="da-DK" smtClean="0"/>
              <a:pPr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535224035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rugerdefinere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70563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2" imgH="533" progId="TCLayout.ActiveDocument.1">
                  <p:embed/>
                </p:oleObj>
              </mc:Choice>
              <mc:Fallback>
                <p:oleObj name="think-cell Slide" r:id="rId4" imgW="532" imgH="533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ktangel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5"/>
          </a:solidFill>
          <a:ln w="15875">
            <a:noFill/>
          </a:ln>
          <a:effectLst>
            <a:outerShdw blurRad="127000" dist="50800" dir="54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da-DK" sz="3100" b="1" i="0" baseline="0">
              <a:latin typeface="Arial" panose="020B0604020202020204" pitchFamily="34" charset="0"/>
              <a:cs typeface="Open Sans Light" panose="020B060402020202020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100"/>
            </a:lvl1pPr>
          </a:lstStyle>
          <a:p>
            <a:r>
              <a:rPr lang="da-DK"/>
              <a:t>Klik for at redigere i master</a:t>
            </a:r>
          </a:p>
        </p:txBody>
      </p:sp>
      <p:sp>
        <p:nvSpPr>
          <p:cNvPr id="3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262972"/>
            <a:ext cx="10363200" cy="198541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4" name="Rectangle 11"/>
          <p:cNvSpPr/>
          <p:nvPr userDrawn="1"/>
        </p:nvSpPr>
        <p:spPr>
          <a:xfrm>
            <a:off x="0" y="1736726"/>
            <a:ext cx="12192000" cy="4321174"/>
          </a:xfrm>
          <a:prstGeom prst="rect">
            <a:avLst/>
          </a:prstGeom>
          <a:solidFill>
            <a:srgbClr val="E5E5E5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81809971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OKU 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5"/>
          <p:cNvSpPr txBox="1">
            <a:spLocks noGrp="1"/>
          </p:cNvSpPr>
          <p:nvPr>
            <p:ph type="body" idx="4294967295"/>
          </p:nvPr>
        </p:nvSpPr>
        <p:spPr>
          <a:xfrm>
            <a:off x="914400" y="688580"/>
            <a:ext cx="10363196" cy="859846"/>
          </a:xfrm>
        </p:spPr>
        <p:txBody>
          <a:bodyPr/>
          <a:lstStyle>
            <a:lvl1pPr marL="0" indent="0">
              <a:buNone/>
              <a:defRPr sz="3000" b="1"/>
            </a:lvl1pPr>
          </a:lstStyle>
          <a:p>
            <a:pPr lvl="0"/>
            <a:r>
              <a:rPr lang="da-DK"/>
              <a:t>Klik for at redigere i overskrift</a:t>
            </a:r>
          </a:p>
        </p:txBody>
      </p:sp>
      <p:sp>
        <p:nvSpPr>
          <p:cNvPr id="3" name="Title Placeholder 1"/>
          <p:cNvSpPr txBox="1">
            <a:spLocks noGrp="1"/>
          </p:cNvSpPr>
          <p:nvPr>
            <p:ph type="title"/>
          </p:nvPr>
        </p:nvSpPr>
        <p:spPr>
          <a:xfrm>
            <a:off x="914400" y="456286"/>
            <a:ext cx="10363196" cy="211921"/>
          </a:xfrm>
        </p:spPr>
        <p:txBody>
          <a:bodyPr wrap="none" anchorCtr="0"/>
          <a:lstStyle>
            <a:lvl1pPr algn="l">
              <a:defRPr sz="1000" b="0"/>
            </a:lvl1pPr>
          </a:lstStyle>
          <a:p>
            <a:pPr lvl="0"/>
            <a:r>
              <a:rPr lang="da-DK"/>
              <a:t>Klik for at redigere i tracker</a:t>
            </a:r>
          </a:p>
        </p:txBody>
      </p:sp>
      <p:sp>
        <p:nvSpPr>
          <p:cNvPr id="4" name="Pladsholder til slidenummer 3"/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5E530F1A-E148-45AD-9E51-893326BE722B}" type="slidenum">
              <a:rPr/>
              <a:t>‹#›</a:t>
            </a:fld>
            <a:endParaRPr lang="da-DK"/>
          </a:p>
        </p:txBody>
      </p:sp>
      <p:sp>
        <p:nvSpPr>
          <p:cNvPr id="5" name="Pladsholder til sidefod 2"/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da-DK"/>
              <a:t>Sidefod på alle sider</a:t>
            </a:r>
          </a:p>
        </p:txBody>
      </p:sp>
    </p:spTree>
    <p:extLst>
      <p:ext uri="{BB962C8B-B14F-4D97-AF65-F5344CB8AC3E}">
        <p14:creationId xmlns:p14="http://schemas.microsoft.com/office/powerpoint/2010/main" val="1009559319"/>
      </p:ext>
    </p:extLst>
  </p:cSld>
  <p:clrMapOvr>
    <a:masterClrMapping/>
  </p:clrMapOvr>
  <p:hf sldNum="0" hdr="0" ftr="0" dt="0"/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27"/>
            <a:ext cx="10363200" cy="1470025"/>
          </a:xfrm>
        </p:spPr>
        <p:txBody>
          <a:bodyPr/>
          <a:lstStyle/>
          <a:p>
            <a:r>
              <a:rPr lang="da-DK"/>
              <a:t>Klik for at redigere i master</a:t>
            </a:r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23" indent="0" algn="ctr">
              <a:buNone/>
              <a:defRPr/>
            </a:lvl2pPr>
            <a:lvl3pPr marL="914446" indent="0" algn="ctr">
              <a:buNone/>
              <a:defRPr/>
            </a:lvl3pPr>
            <a:lvl4pPr marL="1371669" indent="0" algn="ctr">
              <a:buNone/>
              <a:defRPr/>
            </a:lvl4pPr>
            <a:lvl5pPr marL="1828891" indent="0" algn="ctr">
              <a:buNone/>
              <a:defRPr/>
            </a:lvl5pPr>
            <a:lvl6pPr marL="2286114" indent="0" algn="ctr">
              <a:buNone/>
              <a:defRPr/>
            </a:lvl6pPr>
            <a:lvl7pPr marL="2743337" indent="0" algn="ctr">
              <a:buNone/>
              <a:defRPr/>
            </a:lvl7pPr>
            <a:lvl8pPr marL="3200560" indent="0" algn="ctr">
              <a:buNone/>
              <a:defRPr/>
            </a:lvl8pPr>
            <a:lvl9pPr marL="3657783" indent="0" algn="ctr">
              <a:buNone/>
              <a:defRPr/>
            </a:lvl9pPr>
          </a:lstStyle>
          <a:p>
            <a:r>
              <a:rPr lang="da-DK"/>
              <a:t>Klik for at redigere i master</a:t>
            </a:r>
          </a:p>
        </p:txBody>
      </p:sp>
      <p:sp>
        <p:nvSpPr>
          <p:cNvPr id="4" name="Rectangle 8"/>
          <p:cNvSpPr>
            <a:spLocks noGrp="1" noChangeArrowheads="1"/>
          </p:cNvSpPr>
          <p:nvPr>
            <p:ph type="dt" sz="half" idx="10"/>
          </p:nvPr>
        </p:nvSpPr>
        <p:spPr>
          <a:xfrm>
            <a:off x="914400" y="6248400"/>
            <a:ext cx="2540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5" name="Rectangle 9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8400"/>
            <a:ext cx="38608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6" name="Rectangle 10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9347200" y="6284168"/>
            <a:ext cx="2540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1888B9F-7A58-40FC-94C6-DE17AC819CA0}" type="slidenum">
              <a:rPr lang="da-DK"/>
              <a:pPr>
                <a:defRPr/>
              </a:pPr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71968953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1) Forside - Intro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DE115998-8EEC-F14C-8A06-E224BD904D2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8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48934" y="1927328"/>
            <a:ext cx="1894132" cy="1877822"/>
          </a:xfrm>
          <a:prstGeom prst="rect">
            <a:avLst/>
          </a:prstGeom>
        </p:spPr>
      </p:pic>
      <p:sp>
        <p:nvSpPr>
          <p:cNvPr id="6" name="Rektangel 5">
            <a:extLst>
              <a:ext uri="{FF2B5EF4-FFF2-40B4-BE49-F238E27FC236}">
                <a16:creationId xmlns:a16="http://schemas.microsoft.com/office/drawing/2014/main" id="{0AE144C8-0C64-2E48-BD19-B340504ED30E}"/>
              </a:ext>
            </a:extLst>
          </p:cNvPr>
          <p:cNvSpPr/>
          <p:nvPr userDrawn="1"/>
        </p:nvSpPr>
        <p:spPr>
          <a:xfrm>
            <a:off x="0" y="6714895"/>
            <a:ext cx="12192000" cy="180000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02884CE6-2E01-4949-BAD6-196A401BB85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14400" y="5506051"/>
            <a:ext cx="10363200" cy="198541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titel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CD9EFE38-74B0-2C43-8B3B-DBBFECFD80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4688490"/>
            <a:ext cx="10363200" cy="817561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0150EF21-A222-474E-9F0D-36BD39F2EB1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11226" y="4243457"/>
            <a:ext cx="10369550" cy="417513"/>
          </a:xfrm>
        </p:spPr>
        <p:txBody>
          <a:bodyPr/>
          <a:lstStyle>
            <a:lvl1pPr marL="0" indent="0" algn="ctr">
              <a:buNone/>
              <a:defRPr sz="3600" spc="300">
                <a:solidFill>
                  <a:srgbClr val="FEC315"/>
                </a:solidFill>
                <a:latin typeface="Manus" pitchFamily="2" charset="77"/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  <a:lvl4pPr marL="1371635" indent="0">
              <a:buNone/>
              <a:defRPr/>
            </a:lvl4pPr>
            <a:lvl5pPr marL="1828847" indent="0">
              <a:buNone/>
              <a:defRPr/>
            </a:lvl5pPr>
          </a:lstStyle>
          <a:p>
            <a:pPr lvl="0"/>
            <a:r>
              <a:rPr lang="da-DK"/>
              <a:t>Klik for at redigere dato</a:t>
            </a:r>
          </a:p>
        </p:txBody>
      </p:sp>
    </p:spTree>
    <p:extLst>
      <p:ext uri="{BB962C8B-B14F-4D97-AF65-F5344CB8AC3E}">
        <p14:creationId xmlns:p14="http://schemas.microsoft.com/office/powerpoint/2010/main" val="1436216436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ugerdefinere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270834830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imært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DE115998-8EEC-F14C-8A06-E224BD904D2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0AE144C8-0C64-2E48-BD19-B340504ED30E}"/>
              </a:ext>
            </a:extLst>
          </p:cNvPr>
          <p:cNvSpPr/>
          <p:nvPr userDrawn="1"/>
        </p:nvSpPr>
        <p:spPr>
          <a:xfrm>
            <a:off x="0" y="6714895"/>
            <a:ext cx="12192000" cy="180000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3" name="Tekstfelt 2">
            <a:extLst>
              <a:ext uri="{FF2B5EF4-FFF2-40B4-BE49-F238E27FC236}">
                <a16:creationId xmlns:a16="http://schemas.microsoft.com/office/drawing/2014/main" id="{048D68E5-2222-BD40-9A9A-A1FFEB057981}"/>
              </a:ext>
            </a:extLst>
          </p:cNvPr>
          <p:cNvSpPr txBox="1"/>
          <p:nvPr userDrawn="1"/>
        </p:nvSpPr>
        <p:spPr>
          <a:xfrm>
            <a:off x="793596" y="555208"/>
            <a:ext cx="10604810" cy="5747585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da-DK" sz="11501" b="1">
                <a:solidFill>
                  <a:srgbClr val="FFFFFF"/>
                </a:solidFill>
              </a:rPr>
              <a:t>Primært indhold</a:t>
            </a:r>
          </a:p>
        </p:txBody>
      </p:sp>
    </p:spTree>
    <p:extLst>
      <p:ext uri="{BB962C8B-B14F-4D97-AF65-F5344CB8AC3E}">
        <p14:creationId xmlns:p14="http://schemas.microsoft.com/office/powerpoint/2010/main" val="139699967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9) Indhold - venstrestillet billede med budsk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943717" y="1123721"/>
            <a:ext cx="4572000" cy="4726236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7181481A-2E88-8D46-9166-9ED669A4243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0973" y="3922005"/>
            <a:ext cx="4745659" cy="1707615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47" name="Title Placeholder 1">
            <a:extLst>
              <a:ext uri="{FF2B5EF4-FFF2-40B4-BE49-F238E27FC236}">
                <a16:creationId xmlns:a16="http://schemas.microsoft.com/office/drawing/2014/main" id="{611C7174-4E01-3847-B4C4-CCC7A05178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60973" y="1663545"/>
            <a:ext cx="5023693" cy="18885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>
              <a:defRPr/>
            </a:lvl1pPr>
          </a:lstStyle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105307219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) Indhold - Fuld tekstbo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8272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262972"/>
            <a:ext cx="10363200" cy="198541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1AC8D221-56A1-7042-82FD-26771C9796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432001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da-DK" noProof="0"/>
              <a:t>Klik for at redigere overskrift</a:t>
            </a:r>
          </a:p>
        </p:txBody>
      </p:sp>
      <p:sp>
        <p:nvSpPr>
          <p:cNvPr id="7" name="Pladsholder til tekst 2"/>
          <p:cNvSpPr>
            <a:spLocks noGrp="1"/>
          </p:cNvSpPr>
          <p:nvPr>
            <p:ph type="body" sz="quarter" idx="11" hasCustomPrompt="1"/>
          </p:nvPr>
        </p:nvSpPr>
        <p:spPr>
          <a:xfrm>
            <a:off x="914400" y="1736726"/>
            <a:ext cx="10363200" cy="432117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00"/>
            </a:lvl1pPr>
            <a:lvl3pPr marL="914423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</p:spTree>
    <p:extLst>
      <p:ext uri="{BB962C8B-B14F-4D97-AF65-F5344CB8AC3E}">
        <p14:creationId xmlns:p14="http://schemas.microsoft.com/office/powerpoint/2010/main" val="877734713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2) Indhold - Ingen tekstbo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11936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262972"/>
            <a:ext cx="10363200" cy="198541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1AC8D221-56A1-7042-82FD-26771C9796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432001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1536818347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3) Indhold - Centreret budsk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045346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3598548"/>
            <a:ext cx="10363200" cy="1579381"/>
          </a:xfrm>
        </p:spPr>
        <p:txBody>
          <a:bodyPr wrap="square" anchor="t" anchorCtr="0">
            <a:noAutofit/>
          </a:bodyPr>
          <a:lstStyle>
            <a:lvl1pPr marL="0" indent="0" algn="ctr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1AC8D221-56A1-7042-82FD-26771C9796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930708"/>
            <a:ext cx="10363200" cy="24184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1991867961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4) Indhold - Tekst og tab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90620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262972"/>
            <a:ext cx="10363200" cy="198541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sz="quarter" idx="11" hasCustomPrompt="1"/>
          </p:nvPr>
        </p:nvSpPr>
        <p:spPr>
          <a:xfrm>
            <a:off x="914400" y="1736726"/>
            <a:ext cx="4937760" cy="432117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  <a:lvl3pPr marL="914423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1AC8D221-56A1-7042-82FD-26771C9796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432001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da-DK" noProof="0"/>
              <a:t>Klik for at redigere overskrift</a:t>
            </a:r>
          </a:p>
        </p:txBody>
      </p:sp>
      <p:sp>
        <p:nvSpPr>
          <p:cNvPr id="5" name="Pladsholder til tabel 4">
            <a:extLst>
              <a:ext uri="{FF2B5EF4-FFF2-40B4-BE49-F238E27FC236}">
                <a16:creationId xmlns:a16="http://schemas.microsoft.com/office/drawing/2014/main" id="{2EA14440-FD86-A745-9F55-041D16E11DC7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6096000" y="1736726"/>
            <a:ext cx="5181600" cy="4321175"/>
          </a:xfrm>
          <a:solidFill>
            <a:schemeClr val="bg2"/>
          </a:solidFill>
          <a:ln>
            <a:noFill/>
          </a:ln>
          <a:effectLst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360000" tIns="360000" rIns="360000" bIns="360000"/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r>
              <a:rPr lang="da-DK"/>
              <a:t>Klik på ikonet for at tilføje en tabel</a:t>
            </a:r>
          </a:p>
        </p:txBody>
      </p:sp>
    </p:spTree>
    <p:extLst>
      <p:ext uri="{BB962C8B-B14F-4D97-AF65-F5344CB8AC3E}">
        <p14:creationId xmlns:p14="http://schemas.microsoft.com/office/powerpoint/2010/main" val="3868268421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5) Indhold - Et emne med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4142082" y="477952"/>
            <a:ext cx="3907836" cy="3277515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7181481A-2E88-8D46-9166-9ED669A4243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5023692"/>
            <a:ext cx="10363200" cy="1024569"/>
          </a:xfrm>
        </p:spPr>
        <p:txBody>
          <a:bodyPr wrap="square" anchor="t" anchorCtr="0">
            <a:noAutofit/>
          </a:bodyPr>
          <a:lstStyle>
            <a:lvl1pPr marL="0" indent="0" algn="ctr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47" name="Title Placeholder 1">
            <a:extLst>
              <a:ext uri="{FF2B5EF4-FFF2-40B4-BE49-F238E27FC236}">
                <a16:creationId xmlns:a16="http://schemas.microsoft.com/office/drawing/2014/main" id="{611C7174-4E01-3847-B4C4-CCC7A05178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3830256"/>
            <a:ext cx="10363200" cy="104385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880948425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6) Indhold - To emner med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2357608" y="1736726"/>
            <a:ext cx="3240000" cy="2717399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22" name="Pladsholder til tekst 3"/>
          <p:cNvSpPr>
            <a:spLocks noGrp="1"/>
          </p:cNvSpPr>
          <p:nvPr>
            <p:ph type="body" sz="quarter" idx="25" hasCustomPrompt="1"/>
          </p:nvPr>
        </p:nvSpPr>
        <p:spPr>
          <a:xfrm>
            <a:off x="2357608" y="4589755"/>
            <a:ext cx="3240000" cy="254724"/>
          </a:xfrm>
        </p:spPr>
        <p:txBody>
          <a:bodyPr anchor="b">
            <a:noAutofit/>
          </a:bodyPr>
          <a:lstStyle>
            <a:lvl1pPr marL="0" indent="0" algn="ctr">
              <a:buNone/>
              <a:defRPr sz="1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23" name="Pladsholder til tekst 3"/>
          <p:cNvSpPr>
            <a:spLocks noGrp="1"/>
          </p:cNvSpPr>
          <p:nvPr>
            <p:ph type="body" sz="quarter" idx="26" hasCustomPrompt="1"/>
          </p:nvPr>
        </p:nvSpPr>
        <p:spPr>
          <a:xfrm>
            <a:off x="2357608" y="4993802"/>
            <a:ext cx="3240000" cy="1059239"/>
          </a:xfrm>
        </p:spPr>
        <p:txBody>
          <a:bodyPr/>
          <a:lstStyle>
            <a:lvl1pPr marL="0" indent="0" algn="ctr">
              <a:buNone/>
              <a:defRPr sz="14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7181481A-2E88-8D46-9166-9ED669A4243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262972"/>
            <a:ext cx="10363200" cy="198541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47" name="Title Placeholder 1">
            <a:extLst>
              <a:ext uri="{FF2B5EF4-FFF2-40B4-BE49-F238E27FC236}">
                <a16:creationId xmlns:a16="http://schemas.microsoft.com/office/drawing/2014/main" id="{611C7174-4E01-3847-B4C4-CCC7A05178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432001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da-DK" noProof="0"/>
              <a:t>Klik for at redigere overskrift</a:t>
            </a:r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F2BF2CA4-3ABA-C14B-868D-D7653200FBC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6594392" y="1741586"/>
            <a:ext cx="3240000" cy="2717399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24" name="Pladsholder til tekst 3">
            <a:extLst>
              <a:ext uri="{FF2B5EF4-FFF2-40B4-BE49-F238E27FC236}">
                <a16:creationId xmlns:a16="http://schemas.microsoft.com/office/drawing/2014/main" id="{0F516A20-06BF-E442-B335-3C7FA7EEC87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594392" y="4594615"/>
            <a:ext cx="3240000" cy="254724"/>
          </a:xfrm>
        </p:spPr>
        <p:txBody>
          <a:bodyPr anchor="b">
            <a:noAutofit/>
          </a:bodyPr>
          <a:lstStyle>
            <a:lvl1pPr marL="0" indent="0" algn="ctr">
              <a:buNone/>
              <a:defRPr sz="1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25" name="Pladsholder til tekst 3">
            <a:extLst>
              <a:ext uri="{FF2B5EF4-FFF2-40B4-BE49-F238E27FC236}">
                <a16:creationId xmlns:a16="http://schemas.microsoft.com/office/drawing/2014/main" id="{8D48806D-8505-8F46-82F5-E496FD91153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594392" y="4998662"/>
            <a:ext cx="3240000" cy="1059239"/>
          </a:xfrm>
        </p:spPr>
        <p:txBody>
          <a:bodyPr/>
          <a:lstStyle>
            <a:lvl1pPr marL="0" indent="0" algn="ctr">
              <a:buNone/>
              <a:defRPr sz="14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</p:spTree>
    <p:extLst>
      <p:ext uri="{BB962C8B-B14F-4D97-AF65-F5344CB8AC3E}">
        <p14:creationId xmlns:p14="http://schemas.microsoft.com/office/powerpoint/2010/main" val="1308019528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7) Indhold - Tre emner med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914399" y="1736726"/>
            <a:ext cx="3240000" cy="2717399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22" name="Pladsholder til tekst 3"/>
          <p:cNvSpPr>
            <a:spLocks noGrp="1"/>
          </p:cNvSpPr>
          <p:nvPr>
            <p:ph type="body" sz="quarter" idx="25" hasCustomPrompt="1"/>
          </p:nvPr>
        </p:nvSpPr>
        <p:spPr>
          <a:xfrm>
            <a:off x="914399" y="4589755"/>
            <a:ext cx="3240000" cy="254724"/>
          </a:xfrm>
        </p:spPr>
        <p:txBody>
          <a:bodyPr anchor="b">
            <a:noAutofit/>
          </a:bodyPr>
          <a:lstStyle>
            <a:lvl1pPr marL="0" indent="0" algn="ctr">
              <a:buNone/>
              <a:defRPr sz="1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23" name="Pladsholder til tekst 3"/>
          <p:cNvSpPr>
            <a:spLocks noGrp="1"/>
          </p:cNvSpPr>
          <p:nvPr>
            <p:ph type="body" sz="quarter" idx="26" hasCustomPrompt="1"/>
          </p:nvPr>
        </p:nvSpPr>
        <p:spPr>
          <a:xfrm>
            <a:off x="914399" y="4993802"/>
            <a:ext cx="3240000" cy="1059239"/>
          </a:xfrm>
        </p:spPr>
        <p:txBody>
          <a:bodyPr/>
          <a:lstStyle>
            <a:lvl1pPr marL="0" indent="0" algn="ctr">
              <a:buNone/>
              <a:defRPr sz="14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7181481A-2E88-8D46-9166-9ED669A4243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262972"/>
            <a:ext cx="10363200" cy="198541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47" name="Title Placeholder 1">
            <a:extLst>
              <a:ext uri="{FF2B5EF4-FFF2-40B4-BE49-F238E27FC236}">
                <a16:creationId xmlns:a16="http://schemas.microsoft.com/office/drawing/2014/main" id="{611C7174-4E01-3847-B4C4-CCC7A05178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432001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da-DK" noProof="0"/>
              <a:t>Klik for at redigere overskrift</a:t>
            </a:r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BB17A48F-D994-4545-B295-8EE8A5B21356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8037600" y="1741586"/>
            <a:ext cx="3240000" cy="2717399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9" name="Pladsholder til tekst 3">
            <a:extLst>
              <a:ext uri="{FF2B5EF4-FFF2-40B4-BE49-F238E27FC236}">
                <a16:creationId xmlns:a16="http://schemas.microsoft.com/office/drawing/2014/main" id="{3CD64D60-5E84-7243-BF34-2F21889536C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037600" y="4594615"/>
            <a:ext cx="3240000" cy="254724"/>
          </a:xfrm>
        </p:spPr>
        <p:txBody>
          <a:bodyPr anchor="b">
            <a:noAutofit/>
          </a:bodyPr>
          <a:lstStyle>
            <a:lvl1pPr marL="0" indent="0" algn="ctr">
              <a:buNone/>
              <a:defRPr sz="1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20" name="Pladsholder til tekst 3">
            <a:extLst>
              <a:ext uri="{FF2B5EF4-FFF2-40B4-BE49-F238E27FC236}">
                <a16:creationId xmlns:a16="http://schemas.microsoft.com/office/drawing/2014/main" id="{F8FD379B-FB93-9441-B85B-2A8E307B6CF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037600" y="4998662"/>
            <a:ext cx="3240000" cy="1059239"/>
          </a:xfrm>
        </p:spPr>
        <p:txBody>
          <a:bodyPr/>
          <a:lstStyle>
            <a:lvl1pPr marL="0" indent="0" algn="ctr">
              <a:buNone/>
              <a:defRPr sz="14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F2BF2CA4-3ABA-C14B-868D-D7653200FBC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4475999" y="1741586"/>
            <a:ext cx="3240000" cy="2717399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24" name="Pladsholder til tekst 3">
            <a:extLst>
              <a:ext uri="{FF2B5EF4-FFF2-40B4-BE49-F238E27FC236}">
                <a16:creationId xmlns:a16="http://schemas.microsoft.com/office/drawing/2014/main" id="{0F516A20-06BF-E442-B335-3C7FA7EEC87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75999" y="4594615"/>
            <a:ext cx="3240000" cy="254724"/>
          </a:xfrm>
        </p:spPr>
        <p:txBody>
          <a:bodyPr anchor="b">
            <a:noAutofit/>
          </a:bodyPr>
          <a:lstStyle>
            <a:lvl1pPr marL="0" indent="0" algn="ctr">
              <a:buNone/>
              <a:defRPr sz="1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25" name="Pladsholder til tekst 3">
            <a:extLst>
              <a:ext uri="{FF2B5EF4-FFF2-40B4-BE49-F238E27FC236}">
                <a16:creationId xmlns:a16="http://schemas.microsoft.com/office/drawing/2014/main" id="{8D48806D-8505-8F46-82F5-E496FD91153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475999" y="4998662"/>
            <a:ext cx="3240000" cy="1059239"/>
          </a:xfrm>
        </p:spPr>
        <p:txBody>
          <a:bodyPr/>
          <a:lstStyle>
            <a:lvl1pPr marL="0" indent="0" algn="ctr">
              <a:buNone/>
              <a:defRPr sz="14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</p:spTree>
    <p:extLst>
      <p:ext uri="{BB962C8B-B14F-4D97-AF65-F5344CB8AC3E}">
        <p14:creationId xmlns:p14="http://schemas.microsoft.com/office/powerpoint/2010/main" val="2170920716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8) Indhold - Fire emner med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914400" y="1736726"/>
            <a:ext cx="2489813" cy="2717399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22" name="Pladsholder til tekst 3"/>
          <p:cNvSpPr>
            <a:spLocks noGrp="1"/>
          </p:cNvSpPr>
          <p:nvPr>
            <p:ph type="body" sz="quarter" idx="25" hasCustomPrompt="1"/>
          </p:nvPr>
        </p:nvSpPr>
        <p:spPr>
          <a:xfrm>
            <a:off x="914400" y="4589754"/>
            <a:ext cx="2489813" cy="522073"/>
          </a:xfrm>
        </p:spPr>
        <p:txBody>
          <a:bodyPr anchor="b">
            <a:noAutofit/>
          </a:bodyPr>
          <a:lstStyle>
            <a:lvl1pPr marL="0" indent="0" algn="ctr">
              <a:buNone/>
              <a:defRPr sz="1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23" name="Pladsholder til tekst 3"/>
          <p:cNvSpPr>
            <a:spLocks noGrp="1"/>
          </p:cNvSpPr>
          <p:nvPr>
            <p:ph type="body" sz="quarter" idx="26" hasCustomPrompt="1"/>
          </p:nvPr>
        </p:nvSpPr>
        <p:spPr>
          <a:xfrm>
            <a:off x="914400" y="5255046"/>
            <a:ext cx="2489813" cy="797994"/>
          </a:xfrm>
        </p:spPr>
        <p:txBody>
          <a:bodyPr/>
          <a:lstStyle>
            <a:lvl1pPr marL="0" indent="0" algn="ctr">
              <a:buNone/>
              <a:defRPr sz="14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7181481A-2E88-8D46-9166-9ED669A4243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262972"/>
            <a:ext cx="10363200" cy="198541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47" name="Title Placeholder 1">
            <a:extLst>
              <a:ext uri="{FF2B5EF4-FFF2-40B4-BE49-F238E27FC236}">
                <a16:creationId xmlns:a16="http://schemas.microsoft.com/office/drawing/2014/main" id="{611C7174-4E01-3847-B4C4-CCC7A05178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432001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da-DK" noProof="0"/>
              <a:t>Klik for at redigere overskrift</a:t>
            </a:r>
          </a:p>
        </p:txBody>
      </p:sp>
      <p:sp>
        <p:nvSpPr>
          <p:cNvPr id="32" name="Picture Placeholder 2">
            <a:extLst>
              <a:ext uri="{FF2B5EF4-FFF2-40B4-BE49-F238E27FC236}">
                <a16:creationId xmlns:a16="http://schemas.microsoft.com/office/drawing/2014/main" id="{FDD04CEF-7D9C-8948-BB80-84CBD6883B2E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3536415" y="1736726"/>
            <a:ext cx="2489813" cy="2717399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33" name="Pladsholder til tekst 3">
            <a:extLst>
              <a:ext uri="{FF2B5EF4-FFF2-40B4-BE49-F238E27FC236}">
                <a16:creationId xmlns:a16="http://schemas.microsoft.com/office/drawing/2014/main" id="{5A670000-BB61-BA43-9264-CF80E8D587F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536415" y="4589754"/>
            <a:ext cx="2489813" cy="522073"/>
          </a:xfrm>
        </p:spPr>
        <p:txBody>
          <a:bodyPr anchor="b">
            <a:noAutofit/>
          </a:bodyPr>
          <a:lstStyle>
            <a:lvl1pPr marL="0" indent="0" algn="ctr">
              <a:buNone/>
              <a:defRPr sz="1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34" name="Pladsholder til tekst 3">
            <a:extLst>
              <a:ext uri="{FF2B5EF4-FFF2-40B4-BE49-F238E27FC236}">
                <a16:creationId xmlns:a16="http://schemas.microsoft.com/office/drawing/2014/main" id="{510D0D61-2A94-C641-AF7F-1939034B0E4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536415" y="5255046"/>
            <a:ext cx="2489813" cy="797994"/>
          </a:xfrm>
        </p:spPr>
        <p:txBody>
          <a:bodyPr/>
          <a:lstStyle>
            <a:lvl1pPr marL="0" indent="0" algn="ctr">
              <a:buNone/>
              <a:defRPr sz="14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  <p:sp>
        <p:nvSpPr>
          <p:cNvPr id="35" name="Picture Placeholder 2">
            <a:extLst>
              <a:ext uri="{FF2B5EF4-FFF2-40B4-BE49-F238E27FC236}">
                <a16:creationId xmlns:a16="http://schemas.microsoft.com/office/drawing/2014/main" id="{1EEF1836-630A-ED4C-AA72-492EBBF1F1D4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6158429" y="1736726"/>
            <a:ext cx="2489813" cy="2717399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36" name="Pladsholder til tekst 3">
            <a:extLst>
              <a:ext uri="{FF2B5EF4-FFF2-40B4-BE49-F238E27FC236}">
                <a16:creationId xmlns:a16="http://schemas.microsoft.com/office/drawing/2014/main" id="{60A7BF55-D661-1B49-A75A-2AFEC993EB9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58429" y="4589754"/>
            <a:ext cx="2489813" cy="522073"/>
          </a:xfrm>
        </p:spPr>
        <p:txBody>
          <a:bodyPr anchor="b">
            <a:noAutofit/>
          </a:bodyPr>
          <a:lstStyle>
            <a:lvl1pPr marL="0" indent="0" algn="ctr">
              <a:buNone/>
              <a:defRPr sz="1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37" name="Pladsholder til tekst 3">
            <a:extLst>
              <a:ext uri="{FF2B5EF4-FFF2-40B4-BE49-F238E27FC236}">
                <a16:creationId xmlns:a16="http://schemas.microsoft.com/office/drawing/2014/main" id="{A7183FB7-2D78-0549-8399-95B2098D9D6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58429" y="5255046"/>
            <a:ext cx="2489813" cy="797994"/>
          </a:xfrm>
        </p:spPr>
        <p:txBody>
          <a:bodyPr/>
          <a:lstStyle>
            <a:lvl1pPr marL="0" indent="0" algn="ctr">
              <a:buNone/>
              <a:defRPr sz="14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  <p:sp>
        <p:nvSpPr>
          <p:cNvPr id="38" name="Picture Placeholder 2">
            <a:extLst>
              <a:ext uri="{FF2B5EF4-FFF2-40B4-BE49-F238E27FC236}">
                <a16:creationId xmlns:a16="http://schemas.microsoft.com/office/drawing/2014/main" id="{C3DE3EA4-C122-6240-AC72-734A6ED03D18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8780444" y="1736726"/>
            <a:ext cx="2489813" cy="2717399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39" name="Pladsholder til tekst 3">
            <a:extLst>
              <a:ext uri="{FF2B5EF4-FFF2-40B4-BE49-F238E27FC236}">
                <a16:creationId xmlns:a16="http://schemas.microsoft.com/office/drawing/2014/main" id="{4FA0CD1F-D261-4842-9F8D-2C88F5579B0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780444" y="4589754"/>
            <a:ext cx="2489813" cy="522073"/>
          </a:xfrm>
        </p:spPr>
        <p:txBody>
          <a:bodyPr anchor="b">
            <a:noAutofit/>
          </a:bodyPr>
          <a:lstStyle>
            <a:lvl1pPr marL="0" indent="0" algn="ctr">
              <a:buNone/>
              <a:defRPr sz="1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40" name="Pladsholder til tekst 3">
            <a:extLst>
              <a:ext uri="{FF2B5EF4-FFF2-40B4-BE49-F238E27FC236}">
                <a16:creationId xmlns:a16="http://schemas.microsoft.com/office/drawing/2014/main" id="{BB55047B-EB92-F94B-92A8-D91C9C2BCC1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780444" y="5255046"/>
            <a:ext cx="2489813" cy="797994"/>
          </a:xfrm>
        </p:spPr>
        <p:txBody>
          <a:bodyPr/>
          <a:lstStyle>
            <a:lvl1pPr marL="0" indent="0" algn="ctr">
              <a:buNone/>
              <a:defRPr sz="14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</p:spTree>
    <p:extLst>
      <p:ext uri="{BB962C8B-B14F-4D97-AF65-F5344CB8AC3E}">
        <p14:creationId xmlns:p14="http://schemas.microsoft.com/office/powerpoint/2010/main" val="3649211447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9) Indhold - venstrestillet billede med budsk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943717" y="1123721"/>
            <a:ext cx="4572000" cy="4726236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7181481A-2E88-8D46-9166-9ED669A4243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0973" y="3922005"/>
            <a:ext cx="4745659" cy="1707615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47" name="Title Placeholder 1">
            <a:extLst>
              <a:ext uri="{FF2B5EF4-FFF2-40B4-BE49-F238E27FC236}">
                <a16:creationId xmlns:a16="http://schemas.microsoft.com/office/drawing/2014/main" id="{611C7174-4E01-3847-B4C4-CCC7A05178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60973" y="1663545"/>
            <a:ext cx="5023693" cy="18885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>
              <a:defRPr/>
            </a:lvl1pPr>
          </a:lstStyle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4036705348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0) Indhold - højrestillet billede med budsk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6626600" y="1123721"/>
            <a:ext cx="4572000" cy="4726236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7181481A-2E88-8D46-9166-9ED669A4243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70342" y="3922005"/>
            <a:ext cx="4745659" cy="1707615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47" name="Title Placeholder 1">
            <a:extLst>
              <a:ext uri="{FF2B5EF4-FFF2-40B4-BE49-F238E27FC236}">
                <a16:creationId xmlns:a16="http://schemas.microsoft.com/office/drawing/2014/main" id="{611C7174-4E01-3847-B4C4-CCC7A05178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0342" y="1663545"/>
            <a:ext cx="5023693" cy="18885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>
              <a:defRPr/>
            </a:lvl1pPr>
          </a:lstStyle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19877263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0) Indhold - højrestillet billede med budsk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6626600" y="1123721"/>
            <a:ext cx="4572000" cy="4726236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7181481A-2E88-8D46-9166-9ED669A4243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70342" y="3922005"/>
            <a:ext cx="4745659" cy="1707615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47" name="Title Placeholder 1">
            <a:extLst>
              <a:ext uri="{FF2B5EF4-FFF2-40B4-BE49-F238E27FC236}">
                <a16:creationId xmlns:a16="http://schemas.microsoft.com/office/drawing/2014/main" id="{611C7174-4E01-3847-B4C4-CCC7A05178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0342" y="1663545"/>
            <a:ext cx="5023693" cy="18885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>
              <a:defRPr/>
            </a:lvl1pPr>
          </a:lstStyle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1198882319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1) Indhold - billedekollag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914401" y="1831358"/>
            <a:ext cx="2796988" cy="4008508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3772861" y="1831359"/>
            <a:ext cx="2796988" cy="2110551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631321" y="1831359"/>
            <a:ext cx="4646279" cy="2110551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6631321" y="3990572"/>
            <a:ext cx="4646279" cy="1849295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3779737" y="3992675"/>
            <a:ext cx="2796988" cy="184929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B04F7A2D-1D60-924D-8691-343C17E54BF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065172" y="4257910"/>
            <a:ext cx="2195929" cy="1380891"/>
          </a:xfrm>
        </p:spPr>
        <p:txBody>
          <a:bodyPr wrap="square" anchor="ctr" anchorCtr="0">
            <a:noAutofit/>
          </a:bodyPr>
          <a:lstStyle>
            <a:lvl1pPr marL="0" indent="0" algn="ctr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89048D62-3969-AF4F-9DFE-7CB99DD91E6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262972"/>
            <a:ext cx="10363200" cy="198541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EF939005-16F7-D242-90DC-BF9D655DFE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432001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3627812142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2) Indhold - billedekollage med 6 bille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5609345" y="1831359"/>
            <a:ext cx="2796988" cy="2110551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914401" y="1831359"/>
            <a:ext cx="4646279" cy="2110551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3611496" y="3990572"/>
            <a:ext cx="4794838" cy="1849295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5" hasCustomPrompt="1"/>
          </p:nvPr>
        </p:nvSpPr>
        <p:spPr>
          <a:xfrm>
            <a:off x="8454999" y="1831359"/>
            <a:ext cx="2822600" cy="2110551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6" hasCustomPrompt="1"/>
          </p:nvPr>
        </p:nvSpPr>
        <p:spPr>
          <a:xfrm>
            <a:off x="914400" y="3990572"/>
            <a:ext cx="2635624" cy="1849295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8454999" y="3990572"/>
            <a:ext cx="2822600" cy="1849295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8E825661-551C-CB4A-BD64-F9F48E798F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262972"/>
            <a:ext cx="10363200" cy="198541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E2161DFB-9516-824E-931C-E348F1F9CB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432001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429520244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3) Indhold - billedekollage med 4 bille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5609345" y="1831359"/>
            <a:ext cx="2796988" cy="2110551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914401" y="1831358"/>
            <a:ext cx="4646279" cy="4008508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5" hasCustomPrompt="1"/>
          </p:nvPr>
        </p:nvSpPr>
        <p:spPr>
          <a:xfrm>
            <a:off x="8454999" y="1831359"/>
            <a:ext cx="2822600" cy="2110551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5609346" y="3990572"/>
            <a:ext cx="5668254" cy="1849295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D109ED05-355F-704F-8078-D8FBCB80CC2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262972"/>
            <a:ext cx="10363200" cy="198541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8ADA6362-6032-7B48-806D-EE79E20F90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432001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3479659165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4) Indhold - venstrestillet billede til k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4D84763A-749E-DF4C-B99D-871E993C55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00800" y="2203444"/>
            <a:ext cx="4876800" cy="530755"/>
          </a:xfrm>
        </p:spPr>
        <p:txBody>
          <a:bodyPr wrap="non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B8FC78A-CE27-2940-BE8B-96410FE597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0800" y="467361"/>
            <a:ext cx="4876800" cy="15848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>
              <a:defRPr/>
            </a:lvl1pPr>
          </a:lstStyle>
          <a:p>
            <a:r>
              <a:rPr lang="da-DK" noProof="0"/>
              <a:t>Klik for at redigere overskrift</a:t>
            </a:r>
          </a:p>
        </p:txBody>
      </p:sp>
      <p:sp>
        <p:nvSpPr>
          <p:cNvPr id="11" name="Pladsholder til tekst 2">
            <a:extLst>
              <a:ext uri="{FF2B5EF4-FFF2-40B4-BE49-F238E27FC236}">
                <a16:creationId xmlns:a16="http://schemas.microsoft.com/office/drawing/2014/main" id="{B7C381B9-37D6-3045-BDBA-382AE79424D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00800" y="2955926"/>
            <a:ext cx="4876800" cy="320103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00"/>
            </a:lvl1pPr>
            <a:lvl3pPr marL="914423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A7226904-5333-1643-A028-C32C08635BC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187116"/>
            <a:ext cx="5450468" cy="6670883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4094066940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5) Indhold - højrestillet billede til k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6756400" y="183586"/>
            <a:ext cx="5435600" cy="6674414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4D84763A-749E-DF4C-B99D-871E993C55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24560" y="2203444"/>
            <a:ext cx="4876800" cy="530755"/>
          </a:xfrm>
        </p:spPr>
        <p:txBody>
          <a:bodyPr wrap="non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B8FC78A-CE27-2940-BE8B-96410FE597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24560" y="467361"/>
            <a:ext cx="4876800" cy="15848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>
              <a:defRPr/>
            </a:lvl1pPr>
          </a:lstStyle>
          <a:p>
            <a:r>
              <a:rPr lang="da-DK" noProof="0"/>
              <a:t>Klik for at redigere overskrift</a:t>
            </a:r>
          </a:p>
        </p:txBody>
      </p:sp>
      <p:sp>
        <p:nvSpPr>
          <p:cNvPr id="11" name="Pladsholder til tekst 2">
            <a:extLst>
              <a:ext uri="{FF2B5EF4-FFF2-40B4-BE49-F238E27FC236}">
                <a16:creationId xmlns:a16="http://schemas.microsoft.com/office/drawing/2014/main" id="{B7C381B9-37D6-3045-BDBA-382AE79424D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4560" y="2955926"/>
            <a:ext cx="4876800" cy="320103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00"/>
            </a:lvl1pPr>
            <a:lvl3pPr marL="914423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</p:spTree>
    <p:extLst>
      <p:ext uri="{BB962C8B-B14F-4D97-AF65-F5344CB8AC3E}">
        <p14:creationId xmlns:p14="http://schemas.microsoft.com/office/powerpoint/2010/main" val="1446527382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6) Indhold - topstillet billede til k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183587"/>
            <a:ext cx="12192000" cy="3650747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74109B2-14F7-8C45-B436-1D932F43BA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262972"/>
            <a:ext cx="10363200" cy="198541"/>
          </a:xfrm>
        </p:spPr>
        <p:txBody>
          <a:bodyPr wrap="none" anchor="ctr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20DAE04-02FA-FA4E-80B1-DEACAA8CA1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432001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/>
            </a:lvl1pPr>
          </a:lstStyle>
          <a:p>
            <a:r>
              <a:rPr lang="da-DK" noProof="0"/>
              <a:t>Klik for at redigere overskrift</a:t>
            </a:r>
          </a:p>
        </p:txBody>
      </p:sp>
      <p:sp>
        <p:nvSpPr>
          <p:cNvPr id="11" name="Pladsholder til tekst 2">
            <a:extLst>
              <a:ext uri="{FF2B5EF4-FFF2-40B4-BE49-F238E27FC236}">
                <a16:creationId xmlns:a16="http://schemas.microsoft.com/office/drawing/2014/main" id="{660E2045-251E-0C48-95E3-D254032436F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4400" y="4419600"/>
            <a:ext cx="9076800" cy="18389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00"/>
            </a:lvl1pPr>
            <a:lvl3pPr marL="914423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</p:spTree>
    <p:extLst>
      <p:ext uri="{BB962C8B-B14F-4D97-AF65-F5344CB8AC3E}">
        <p14:creationId xmlns:p14="http://schemas.microsoft.com/office/powerpoint/2010/main" val="4116831385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7) Indhold -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iagram 4">
            <a:extLst>
              <a:ext uri="{FF2B5EF4-FFF2-40B4-BE49-F238E27FC236}">
                <a16:creationId xmlns:a16="http://schemas.microsoft.com/office/drawing/2014/main" id="{649C4CD9-CD6F-334F-98E9-4820250EF863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914401" y="655984"/>
            <a:ext cx="10366375" cy="5401917"/>
          </a:xfrm>
        </p:spPr>
        <p:txBody>
          <a:bodyPr/>
          <a:lstStyle>
            <a:lvl1pPr marL="0" indent="0" algn="ctr">
              <a:buNone/>
              <a:defRPr sz="1400"/>
            </a:lvl1pPr>
          </a:lstStyle>
          <a:p>
            <a:r>
              <a:rPr lang="da-DK"/>
              <a:t>Klik på ikonet for at tilføje et diagram</a:t>
            </a:r>
          </a:p>
        </p:txBody>
      </p:sp>
    </p:spTree>
    <p:extLst>
      <p:ext uri="{BB962C8B-B14F-4D97-AF65-F5344CB8AC3E}">
        <p14:creationId xmlns:p14="http://schemas.microsoft.com/office/powerpoint/2010/main" val="3703891236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8) Indhold - Tab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tabel 5">
            <a:extLst>
              <a:ext uri="{FF2B5EF4-FFF2-40B4-BE49-F238E27FC236}">
                <a16:creationId xmlns:a16="http://schemas.microsoft.com/office/drawing/2014/main" id="{FAC4DF31-B3FA-AA43-969D-3B3268B15152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914401" y="655984"/>
            <a:ext cx="10366375" cy="5401917"/>
          </a:xfrm>
        </p:spPr>
        <p:txBody>
          <a:bodyPr/>
          <a:lstStyle>
            <a:lvl1pPr marL="0" indent="0" algn="ctr">
              <a:buNone/>
              <a:defRPr sz="1400"/>
            </a:lvl1pPr>
          </a:lstStyle>
          <a:p>
            <a:r>
              <a:rPr lang="da-DK"/>
              <a:t>Klik på ikonet for at tilføje en tabel</a:t>
            </a:r>
          </a:p>
        </p:txBody>
      </p:sp>
    </p:spTree>
    <p:extLst>
      <p:ext uri="{BB962C8B-B14F-4D97-AF65-F5344CB8AC3E}">
        <p14:creationId xmlns:p14="http://schemas.microsoft.com/office/powerpoint/2010/main" val="1970591603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9) Indhold - 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81197094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20) Indhold - Best prac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P-Animation" descr="BP-Animation">
            <a:hlinkClick r:id="" action="ppaction://media"/>
            <a:extLst>
              <a:ext uri="{FF2B5EF4-FFF2-40B4-BE49-F238E27FC236}">
                <a16:creationId xmlns:a16="http://schemas.microsoft.com/office/drawing/2014/main" id="{576F7D11-4E26-1B4C-A111-575C6B104660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30238"/>
          <a:stretch/>
        </p:blipFill>
        <p:spPr>
          <a:xfrm>
            <a:off x="3364255" y="184108"/>
            <a:ext cx="6319796" cy="3206422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129767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ladsholder til tekst 2"/>
          <p:cNvSpPr>
            <a:spLocks noGrp="1"/>
          </p:cNvSpPr>
          <p:nvPr>
            <p:ph type="body" sz="quarter" idx="11" hasCustomPrompt="1"/>
          </p:nvPr>
        </p:nvSpPr>
        <p:spPr>
          <a:xfrm>
            <a:off x="2179800" y="2249644"/>
            <a:ext cx="9097800" cy="608067"/>
          </a:xfr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2800"/>
            </a:lvl1pPr>
            <a:lvl3pPr marL="914423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736726"/>
            <a:ext cx="10363200" cy="198541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grpSp>
        <p:nvGrpSpPr>
          <p:cNvPr id="22" name="Gruppe 21">
            <a:extLst>
              <a:ext uri="{FF2B5EF4-FFF2-40B4-BE49-F238E27FC236}">
                <a16:creationId xmlns:a16="http://schemas.microsoft.com/office/drawing/2014/main" id="{E2741BB0-BC6E-D043-8C59-CE47B8FEEF7A}"/>
              </a:ext>
            </a:extLst>
          </p:cNvPr>
          <p:cNvGrpSpPr/>
          <p:nvPr userDrawn="1"/>
        </p:nvGrpSpPr>
        <p:grpSpPr>
          <a:xfrm>
            <a:off x="1308675" y="2156651"/>
            <a:ext cx="627088" cy="943015"/>
            <a:chOff x="1423875" y="4071849"/>
            <a:chExt cx="627088" cy="943015"/>
          </a:xfrm>
        </p:grpSpPr>
        <p:sp>
          <p:nvSpPr>
            <p:cNvPr id="12" name="Tekstfelt 11">
              <a:extLst>
                <a:ext uri="{FF2B5EF4-FFF2-40B4-BE49-F238E27FC236}">
                  <a16:creationId xmlns:a16="http://schemas.microsoft.com/office/drawing/2014/main" id="{A1BAD3C0-82BE-B54D-9145-1EB45E6DD52F}"/>
                </a:ext>
              </a:extLst>
            </p:cNvPr>
            <p:cNvSpPr txBox="1"/>
            <p:nvPr/>
          </p:nvSpPr>
          <p:spPr>
            <a:xfrm>
              <a:off x="1507224" y="4071849"/>
              <a:ext cx="543739" cy="94301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da-DK" sz="5528" spc="0" baseline="0">
                  <a:solidFill>
                    <a:srgbClr val="154573"/>
                  </a:solidFill>
                  <a:latin typeface="Manus"/>
                  <a:sym typeface="Manus"/>
                  <a:rtl val="0"/>
                </a:rPr>
                <a:t>1</a:t>
              </a:r>
            </a:p>
          </p:txBody>
        </p:sp>
        <p:sp>
          <p:nvSpPr>
            <p:cNvPr id="16" name="Kombinationstegning 15">
              <a:extLst>
                <a:ext uri="{FF2B5EF4-FFF2-40B4-BE49-F238E27FC236}">
                  <a16:creationId xmlns:a16="http://schemas.microsoft.com/office/drawing/2014/main" id="{38AA8925-755B-CC44-9D77-ABBFFB5873C3}"/>
                </a:ext>
              </a:extLst>
            </p:cNvPr>
            <p:cNvSpPr/>
            <p:nvPr/>
          </p:nvSpPr>
          <p:spPr>
            <a:xfrm>
              <a:off x="1423875" y="4157643"/>
              <a:ext cx="572723" cy="608067"/>
            </a:xfrm>
            <a:custGeom>
              <a:avLst/>
              <a:gdLst>
                <a:gd name="connsiteX0" fmla="*/ 17465 w 572723"/>
                <a:gd name="connsiteY0" fmla="*/ 206977 h 608067"/>
                <a:gd name="connsiteX1" fmla="*/ 15460 w 572723"/>
                <a:gd name="connsiteY1" fmla="*/ 213996 h 608067"/>
                <a:gd name="connsiteX2" fmla="*/ 40533 w 572723"/>
                <a:gd name="connsiteY2" fmla="*/ 142802 h 608067"/>
                <a:gd name="connsiteX3" fmla="*/ 6433 w 572723"/>
                <a:gd name="connsiteY3" fmla="*/ 223020 h 608067"/>
                <a:gd name="connsiteX4" fmla="*/ 8439 w 572723"/>
                <a:gd name="connsiteY4" fmla="*/ 300230 h 608067"/>
                <a:gd name="connsiteX5" fmla="*/ 415 w 572723"/>
                <a:gd name="connsiteY5" fmla="*/ 331315 h 608067"/>
                <a:gd name="connsiteX6" fmla="*/ 1418 w 572723"/>
                <a:gd name="connsiteY6" fmla="*/ 359391 h 608067"/>
                <a:gd name="connsiteX7" fmla="*/ 10445 w 572723"/>
                <a:gd name="connsiteY7" fmla="*/ 392481 h 608067"/>
                <a:gd name="connsiteX8" fmla="*/ 4427 w 572723"/>
                <a:gd name="connsiteY8" fmla="*/ 369418 h 608067"/>
                <a:gd name="connsiteX9" fmla="*/ 10445 w 572723"/>
                <a:gd name="connsiteY9" fmla="*/ 392481 h 608067"/>
                <a:gd name="connsiteX10" fmla="*/ 29501 w 572723"/>
                <a:gd name="connsiteY10" fmla="*/ 445626 h 608067"/>
                <a:gd name="connsiteX11" fmla="*/ 60592 w 572723"/>
                <a:gd name="connsiteY11" fmla="*/ 496765 h 608067"/>
                <a:gd name="connsiteX12" fmla="*/ 156874 w 572723"/>
                <a:gd name="connsiteY12" fmla="*/ 569964 h 608067"/>
                <a:gd name="connsiteX13" fmla="*/ 257167 w 572723"/>
                <a:gd name="connsiteY13" fmla="*/ 601048 h 608067"/>
                <a:gd name="connsiteX14" fmla="*/ 317343 w 572723"/>
                <a:gd name="connsiteY14" fmla="*/ 608067 h 608067"/>
                <a:gd name="connsiteX15" fmla="*/ 364481 w 572723"/>
                <a:gd name="connsiteY15" fmla="*/ 607064 h 608067"/>
                <a:gd name="connsiteX16" fmla="*/ 385543 w 572723"/>
                <a:gd name="connsiteY16" fmla="*/ 604056 h 608067"/>
                <a:gd name="connsiteX17" fmla="*/ 362476 w 572723"/>
                <a:gd name="connsiteY17" fmla="*/ 606062 h 608067"/>
                <a:gd name="connsiteX18" fmla="*/ 438699 w 572723"/>
                <a:gd name="connsiteY18" fmla="*/ 578988 h 608067"/>
                <a:gd name="connsiteX19" fmla="*/ 422652 w 572723"/>
                <a:gd name="connsiteY19" fmla="*/ 580994 h 608067"/>
                <a:gd name="connsiteX20" fmla="*/ 434687 w 572723"/>
                <a:gd name="connsiteY20" fmla="*/ 576983 h 608067"/>
                <a:gd name="connsiteX21" fmla="*/ 476810 w 572723"/>
                <a:gd name="connsiteY21" fmla="*/ 546901 h 608067"/>
                <a:gd name="connsiteX22" fmla="*/ 490852 w 572723"/>
                <a:gd name="connsiteY22" fmla="*/ 537876 h 608067"/>
                <a:gd name="connsiteX23" fmla="*/ 487843 w 572723"/>
                <a:gd name="connsiteY23" fmla="*/ 538879 h 608067"/>
                <a:gd name="connsiteX24" fmla="*/ 521943 w 572723"/>
                <a:gd name="connsiteY24" fmla="*/ 498770 h 608067"/>
                <a:gd name="connsiteX25" fmla="*/ 543004 w 572723"/>
                <a:gd name="connsiteY25" fmla="*/ 454650 h 608067"/>
                <a:gd name="connsiteX26" fmla="*/ 547016 w 572723"/>
                <a:gd name="connsiteY26" fmla="*/ 446628 h 608067"/>
                <a:gd name="connsiteX27" fmla="*/ 553034 w 572723"/>
                <a:gd name="connsiteY27" fmla="*/ 419555 h 608067"/>
                <a:gd name="connsiteX28" fmla="*/ 559051 w 572723"/>
                <a:gd name="connsiteY28" fmla="*/ 411533 h 608067"/>
                <a:gd name="connsiteX29" fmla="*/ 566072 w 572723"/>
                <a:gd name="connsiteY29" fmla="*/ 352372 h 608067"/>
                <a:gd name="connsiteX30" fmla="*/ 571086 w 572723"/>
                <a:gd name="connsiteY30" fmla="*/ 246083 h 608067"/>
                <a:gd name="connsiteX31" fmla="*/ 528963 w 572723"/>
                <a:gd name="connsiteY31" fmla="*/ 144808 h 608067"/>
                <a:gd name="connsiteX32" fmla="*/ 528963 w 572723"/>
                <a:gd name="connsiteY32" fmla="*/ 146813 h 608067"/>
                <a:gd name="connsiteX33" fmla="*/ 469790 w 572723"/>
                <a:gd name="connsiteY33" fmla="*/ 96677 h 608067"/>
                <a:gd name="connsiteX34" fmla="*/ 437696 w 572723"/>
                <a:gd name="connsiteY34" fmla="*/ 83642 h 608067"/>
                <a:gd name="connsiteX35" fmla="*/ 422652 w 572723"/>
                <a:gd name="connsiteY35" fmla="*/ 80633 h 608067"/>
                <a:gd name="connsiteX36" fmla="*/ 412622 w 572723"/>
                <a:gd name="connsiteY36" fmla="*/ 80633 h 608067"/>
                <a:gd name="connsiteX37" fmla="*/ 397578 w 572723"/>
                <a:gd name="connsiteY37" fmla="*/ 77625 h 608067"/>
                <a:gd name="connsiteX38" fmla="*/ 384540 w 572723"/>
                <a:gd name="connsiteY38" fmla="*/ 76622 h 608067"/>
                <a:gd name="connsiteX39" fmla="*/ 372505 w 572723"/>
                <a:gd name="connsiteY39" fmla="*/ 76622 h 608067"/>
                <a:gd name="connsiteX40" fmla="*/ 357461 w 572723"/>
                <a:gd name="connsiteY40" fmla="*/ 77625 h 608067"/>
                <a:gd name="connsiteX41" fmla="*/ 350440 w 572723"/>
                <a:gd name="connsiteY41" fmla="*/ 80633 h 608067"/>
                <a:gd name="connsiteX42" fmla="*/ 347432 w 572723"/>
                <a:gd name="connsiteY42" fmla="*/ 82639 h 608067"/>
                <a:gd name="connsiteX43" fmla="*/ 374511 w 572723"/>
                <a:gd name="connsiteY43" fmla="*/ 85647 h 608067"/>
                <a:gd name="connsiteX44" fmla="*/ 374511 w 572723"/>
                <a:gd name="connsiteY44" fmla="*/ 84644 h 608067"/>
                <a:gd name="connsiteX45" fmla="*/ 451737 w 572723"/>
                <a:gd name="connsiteY45" fmla="*/ 115729 h 608067"/>
                <a:gd name="connsiteX46" fmla="*/ 507901 w 572723"/>
                <a:gd name="connsiteY46" fmla="*/ 175892 h 608067"/>
                <a:gd name="connsiteX47" fmla="*/ 528963 w 572723"/>
                <a:gd name="connsiteY47" fmla="*/ 228034 h 608067"/>
                <a:gd name="connsiteX48" fmla="*/ 531972 w 572723"/>
                <a:gd name="connsiteY48" fmla="*/ 288198 h 608067"/>
                <a:gd name="connsiteX49" fmla="*/ 524951 w 572723"/>
                <a:gd name="connsiteY49" fmla="*/ 357386 h 608067"/>
                <a:gd name="connsiteX50" fmla="*/ 513919 w 572723"/>
                <a:gd name="connsiteY50" fmla="*/ 420557 h 608067"/>
                <a:gd name="connsiteX51" fmla="*/ 503890 w 572723"/>
                <a:gd name="connsiteY51" fmla="*/ 441615 h 608067"/>
                <a:gd name="connsiteX52" fmla="*/ 477813 w 572723"/>
                <a:gd name="connsiteY52" fmla="*/ 489746 h 608067"/>
                <a:gd name="connsiteX53" fmla="*/ 434687 w 572723"/>
                <a:gd name="connsiteY53" fmla="*/ 527849 h 608067"/>
                <a:gd name="connsiteX54" fmla="*/ 436693 w 572723"/>
                <a:gd name="connsiteY54" fmla="*/ 526846 h 608067"/>
                <a:gd name="connsiteX55" fmla="*/ 385543 w 572723"/>
                <a:gd name="connsiteY55" fmla="*/ 545898 h 608067"/>
                <a:gd name="connsiteX56" fmla="*/ 381531 w 572723"/>
                <a:gd name="connsiteY56" fmla="*/ 547904 h 608067"/>
                <a:gd name="connsiteX57" fmla="*/ 361473 w 572723"/>
                <a:gd name="connsiteY57" fmla="*/ 550912 h 608067"/>
                <a:gd name="connsiteX58" fmla="*/ 320352 w 572723"/>
                <a:gd name="connsiteY58" fmla="*/ 556928 h 608067"/>
                <a:gd name="connsiteX59" fmla="*/ 254158 w 572723"/>
                <a:gd name="connsiteY59" fmla="*/ 553920 h 608067"/>
                <a:gd name="connsiteX60" fmla="*/ 247138 w 572723"/>
                <a:gd name="connsiteY60" fmla="*/ 552917 h 608067"/>
                <a:gd name="connsiteX61" fmla="*/ 184956 w 572723"/>
                <a:gd name="connsiteY61" fmla="*/ 529855 h 608067"/>
                <a:gd name="connsiteX62" fmla="*/ 133806 w 572723"/>
                <a:gd name="connsiteY62" fmla="*/ 500776 h 608067"/>
                <a:gd name="connsiteX63" fmla="*/ 112744 w 572723"/>
                <a:gd name="connsiteY63" fmla="*/ 490748 h 608067"/>
                <a:gd name="connsiteX64" fmla="*/ 100709 w 572723"/>
                <a:gd name="connsiteY64" fmla="*/ 480721 h 608067"/>
                <a:gd name="connsiteX65" fmla="*/ 87671 w 572723"/>
                <a:gd name="connsiteY65" fmla="*/ 464677 h 608067"/>
                <a:gd name="connsiteX66" fmla="*/ 64603 w 572723"/>
                <a:gd name="connsiteY66" fmla="*/ 425571 h 608067"/>
                <a:gd name="connsiteX67" fmla="*/ 56580 w 572723"/>
                <a:gd name="connsiteY67" fmla="*/ 407522 h 608067"/>
                <a:gd name="connsiteX68" fmla="*/ 55577 w 572723"/>
                <a:gd name="connsiteY68" fmla="*/ 395489 h 608067"/>
                <a:gd name="connsiteX69" fmla="*/ 51565 w 572723"/>
                <a:gd name="connsiteY69" fmla="*/ 369418 h 608067"/>
                <a:gd name="connsiteX70" fmla="*/ 47553 w 572723"/>
                <a:gd name="connsiteY70" fmla="*/ 347358 h 608067"/>
                <a:gd name="connsiteX71" fmla="*/ 43542 w 572723"/>
                <a:gd name="connsiteY71" fmla="*/ 325299 h 608067"/>
                <a:gd name="connsiteX72" fmla="*/ 43542 w 572723"/>
                <a:gd name="connsiteY72" fmla="*/ 328307 h 608067"/>
                <a:gd name="connsiteX73" fmla="*/ 48556 w 572723"/>
                <a:gd name="connsiteY73" fmla="*/ 280176 h 608067"/>
                <a:gd name="connsiteX74" fmla="*/ 61595 w 572723"/>
                <a:gd name="connsiteY74" fmla="*/ 205974 h 608067"/>
                <a:gd name="connsiteX75" fmla="*/ 89677 w 572723"/>
                <a:gd name="connsiteY75" fmla="*/ 139794 h 608067"/>
                <a:gd name="connsiteX76" fmla="*/ 82656 w 572723"/>
                <a:gd name="connsiteY76" fmla="*/ 147816 h 608067"/>
                <a:gd name="connsiteX77" fmla="*/ 132803 w 572723"/>
                <a:gd name="connsiteY77" fmla="*/ 87652 h 608067"/>
                <a:gd name="connsiteX78" fmla="*/ 143835 w 572723"/>
                <a:gd name="connsiteY78" fmla="*/ 81636 h 608067"/>
                <a:gd name="connsiteX79" fmla="*/ 151859 w 572723"/>
                <a:gd name="connsiteY79" fmla="*/ 74617 h 608067"/>
                <a:gd name="connsiteX80" fmla="*/ 153865 w 572723"/>
                <a:gd name="connsiteY80" fmla="*/ 75620 h 608067"/>
                <a:gd name="connsiteX81" fmla="*/ 171918 w 572723"/>
                <a:gd name="connsiteY81" fmla="*/ 64590 h 608067"/>
                <a:gd name="connsiteX82" fmla="*/ 176932 w 572723"/>
                <a:gd name="connsiteY82" fmla="*/ 60579 h 608067"/>
                <a:gd name="connsiteX83" fmla="*/ 184956 w 572723"/>
                <a:gd name="connsiteY83" fmla="*/ 58573 h 608067"/>
                <a:gd name="connsiteX84" fmla="*/ 184956 w 572723"/>
                <a:gd name="connsiteY84" fmla="*/ 58573 h 608067"/>
                <a:gd name="connsiteX85" fmla="*/ 189970 w 572723"/>
                <a:gd name="connsiteY85" fmla="*/ 56568 h 608067"/>
                <a:gd name="connsiteX86" fmla="*/ 206018 w 572723"/>
                <a:gd name="connsiteY86" fmla="*/ 45538 h 608067"/>
                <a:gd name="connsiteX87" fmla="*/ 223067 w 572723"/>
                <a:gd name="connsiteY87" fmla="*/ 35511 h 608067"/>
                <a:gd name="connsiteX88" fmla="*/ 225073 w 572723"/>
                <a:gd name="connsiteY88" fmla="*/ 35511 h 608067"/>
                <a:gd name="connsiteX89" fmla="*/ 228082 w 572723"/>
                <a:gd name="connsiteY89" fmla="*/ 32503 h 608067"/>
                <a:gd name="connsiteX90" fmla="*/ 234100 w 572723"/>
                <a:gd name="connsiteY90" fmla="*/ 31500 h 608067"/>
                <a:gd name="connsiteX91" fmla="*/ 233097 w 572723"/>
                <a:gd name="connsiteY91" fmla="*/ 31500 h 608067"/>
                <a:gd name="connsiteX92" fmla="*/ 239114 w 572723"/>
                <a:gd name="connsiteY92" fmla="*/ 30497 h 608067"/>
                <a:gd name="connsiteX93" fmla="*/ 240117 w 572723"/>
                <a:gd name="connsiteY93" fmla="*/ 32503 h 608067"/>
                <a:gd name="connsiteX94" fmla="*/ 250147 w 572723"/>
                <a:gd name="connsiteY94" fmla="*/ 30497 h 608067"/>
                <a:gd name="connsiteX95" fmla="*/ 219056 w 572723"/>
                <a:gd name="connsiteY95" fmla="*/ 31500 h 608067"/>
                <a:gd name="connsiteX96" fmla="*/ 234100 w 572723"/>
                <a:gd name="connsiteY96" fmla="*/ 27489 h 608067"/>
                <a:gd name="connsiteX97" fmla="*/ 245132 w 572723"/>
                <a:gd name="connsiteY97" fmla="*/ 27489 h 608067"/>
                <a:gd name="connsiteX98" fmla="*/ 258170 w 572723"/>
                <a:gd name="connsiteY98" fmla="*/ 27489 h 608067"/>
                <a:gd name="connsiteX99" fmla="*/ 265191 w 572723"/>
                <a:gd name="connsiteY99" fmla="*/ 25483 h 608067"/>
                <a:gd name="connsiteX100" fmla="*/ 273214 w 572723"/>
                <a:gd name="connsiteY100" fmla="*/ 26486 h 608067"/>
                <a:gd name="connsiteX101" fmla="*/ 261179 w 572723"/>
                <a:gd name="connsiteY101" fmla="*/ 27489 h 608067"/>
                <a:gd name="connsiteX102" fmla="*/ 266194 w 572723"/>
                <a:gd name="connsiteY102" fmla="*/ 28492 h 608067"/>
                <a:gd name="connsiteX103" fmla="*/ 273214 w 572723"/>
                <a:gd name="connsiteY103" fmla="*/ 28492 h 608067"/>
                <a:gd name="connsiteX104" fmla="*/ 287255 w 572723"/>
                <a:gd name="connsiteY104" fmla="*/ 28492 h 608067"/>
                <a:gd name="connsiteX105" fmla="*/ 293273 w 572723"/>
                <a:gd name="connsiteY105" fmla="*/ 31500 h 608067"/>
                <a:gd name="connsiteX106" fmla="*/ 297285 w 572723"/>
                <a:gd name="connsiteY106" fmla="*/ 30497 h 608067"/>
                <a:gd name="connsiteX107" fmla="*/ 289261 w 572723"/>
                <a:gd name="connsiteY107" fmla="*/ 25483 h 608067"/>
                <a:gd name="connsiteX108" fmla="*/ 300294 w 572723"/>
                <a:gd name="connsiteY108" fmla="*/ 27489 h 608067"/>
                <a:gd name="connsiteX109" fmla="*/ 300294 w 572723"/>
                <a:gd name="connsiteY109" fmla="*/ 25483 h 608067"/>
                <a:gd name="connsiteX110" fmla="*/ 310323 w 572723"/>
                <a:gd name="connsiteY110" fmla="*/ 27489 h 608067"/>
                <a:gd name="connsiteX111" fmla="*/ 307314 w 572723"/>
                <a:gd name="connsiteY111" fmla="*/ 26486 h 608067"/>
                <a:gd name="connsiteX112" fmla="*/ 296282 w 572723"/>
                <a:gd name="connsiteY112" fmla="*/ 28492 h 608067"/>
                <a:gd name="connsiteX113" fmla="*/ 286252 w 572723"/>
                <a:gd name="connsiteY113" fmla="*/ 30497 h 608067"/>
                <a:gd name="connsiteX114" fmla="*/ 299291 w 572723"/>
                <a:gd name="connsiteY114" fmla="*/ 27489 h 608067"/>
                <a:gd name="connsiteX115" fmla="*/ 311326 w 572723"/>
                <a:gd name="connsiteY115" fmla="*/ 26486 h 608067"/>
                <a:gd name="connsiteX116" fmla="*/ 311326 w 572723"/>
                <a:gd name="connsiteY116" fmla="*/ 23478 h 608067"/>
                <a:gd name="connsiteX117" fmla="*/ 307314 w 572723"/>
                <a:gd name="connsiteY117" fmla="*/ 24481 h 608067"/>
                <a:gd name="connsiteX118" fmla="*/ 303302 w 572723"/>
                <a:gd name="connsiteY118" fmla="*/ 20470 h 608067"/>
                <a:gd name="connsiteX119" fmla="*/ 296282 w 572723"/>
                <a:gd name="connsiteY119" fmla="*/ 23478 h 608067"/>
                <a:gd name="connsiteX120" fmla="*/ 288258 w 572723"/>
                <a:gd name="connsiteY120" fmla="*/ 25483 h 608067"/>
                <a:gd name="connsiteX121" fmla="*/ 286252 w 572723"/>
                <a:gd name="connsiteY121" fmla="*/ 24481 h 608067"/>
                <a:gd name="connsiteX122" fmla="*/ 298288 w 572723"/>
                <a:gd name="connsiteY122" fmla="*/ 25483 h 608067"/>
                <a:gd name="connsiteX123" fmla="*/ 305308 w 572723"/>
                <a:gd name="connsiteY123" fmla="*/ 24481 h 608067"/>
                <a:gd name="connsiteX124" fmla="*/ 306311 w 572723"/>
                <a:gd name="connsiteY124" fmla="*/ 24481 h 608067"/>
                <a:gd name="connsiteX125" fmla="*/ 312329 w 572723"/>
                <a:gd name="connsiteY125" fmla="*/ 23478 h 608067"/>
                <a:gd name="connsiteX126" fmla="*/ 310323 w 572723"/>
                <a:gd name="connsiteY126" fmla="*/ 16459 h 608067"/>
                <a:gd name="connsiteX127" fmla="*/ 309320 w 572723"/>
                <a:gd name="connsiteY127" fmla="*/ 9440 h 608067"/>
                <a:gd name="connsiteX128" fmla="*/ 298288 w 572723"/>
                <a:gd name="connsiteY128" fmla="*/ 10443 h 608067"/>
                <a:gd name="connsiteX129" fmla="*/ 288258 w 572723"/>
                <a:gd name="connsiteY129" fmla="*/ 6432 h 608067"/>
                <a:gd name="connsiteX130" fmla="*/ 284246 w 572723"/>
                <a:gd name="connsiteY130" fmla="*/ 7434 h 608067"/>
                <a:gd name="connsiteX131" fmla="*/ 277226 w 572723"/>
                <a:gd name="connsiteY131" fmla="*/ 4426 h 608067"/>
                <a:gd name="connsiteX132" fmla="*/ 266194 w 572723"/>
                <a:gd name="connsiteY132" fmla="*/ 4426 h 608067"/>
                <a:gd name="connsiteX133" fmla="*/ 263185 w 572723"/>
                <a:gd name="connsiteY133" fmla="*/ 6432 h 608067"/>
                <a:gd name="connsiteX134" fmla="*/ 243126 w 572723"/>
                <a:gd name="connsiteY134" fmla="*/ 7434 h 608067"/>
                <a:gd name="connsiteX135" fmla="*/ 239114 w 572723"/>
                <a:gd name="connsiteY135" fmla="*/ 2421 h 608067"/>
                <a:gd name="connsiteX136" fmla="*/ 246135 w 572723"/>
                <a:gd name="connsiteY136" fmla="*/ 4426 h 608067"/>
                <a:gd name="connsiteX137" fmla="*/ 256164 w 572723"/>
                <a:gd name="connsiteY137" fmla="*/ 415 h 608067"/>
                <a:gd name="connsiteX138" fmla="*/ 241120 w 572723"/>
                <a:gd name="connsiteY138" fmla="*/ 1418 h 608067"/>
                <a:gd name="connsiteX139" fmla="*/ 242123 w 572723"/>
                <a:gd name="connsiteY139" fmla="*/ 1418 h 608067"/>
                <a:gd name="connsiteX140" fmla="*/ 222064 w 572723"/>
                <a:gd name="connsiteY140" fmla="*/ 4426 h 608067"/>
                <a:gd name="connsiteX141" fmla="*/ 224070 w 572723"/>
                <a:gd name="connsiteY141" fmla="*/ 1418 h 608067"/>
                <a:gd name="connsiteX142" fmla="*/ 217050 w 572723"/>
                <a:gd name="connsiteY142" fmla="*/ 2421 h 608067"/>
                <a:gd name="connsiteX143" fmla="*/ 217050 w 572723"/>
                <a:gd name="connsiteY143" fmla="*/ 3424 h 608067"/>
                <a:gd name="connsiteX144" fmla="*/ 208023 w 572723"/>
                <a:gd name="connsiteY144" fmla="*/ 5429 h 608067"/>
                <a:gd name="connsiteX145" fmla="*/ 191976 w 572723"/>
                <a:gd name="connsiteY145" fmla="*/ 13451 h 608067"/>
                <a:gd name="connsiteX146" fmla="*/ 177935 w 572723"/>
                <a:gd name="connsiteY146" fmla="*/ 22475 h 608067"/>
                <a:gd name="connsiteX147" fmla="*/ 167906 w 572723"/>
                <a:gd name="connsiteY147" fmla="*/ 26486 h 608067"/>
                <a:gd name="connsiteX148" fmla="*/ 173923 w 572723"/>
                <a:gd name="connsiteY148" fmla="*/ 23478 h 608067"/>
                <a:gd name="connsiteX149" fmla="*/ 186962 w 572723"/>
                <a:gd name="connsiteY149" fmla="*/ 15456 h 608067"/>
                <a:gd name="connsiteX150" fmla="*/ 200000 w 572723"/>
                <a:gd name="connsiteY150" fmla="*/ 8437 h 608067"/>
                <a:gd name="connsiteX151" fmla="*/ 203009 w 572723"/>
                <a:gd name="connsiteY151" fmla="*/ 6432 h 608067"/>
                <a:gd name="connsiteX152" fmla="*/ 192979 w 572723"/>
                <a:gd name="connsiteY152" fmla="*/ 10443 h 608067"/>
                <a:gd name="connsiteX153" fmla="*/ 175929 w 572723"/>
                <a:gd name="connsiteY153" fmla="*/ 19467 h 608067"/>
                <a:gd name="connsiteX154" fmla="*/ 159882 w 572723"/>
                <a:gd name="connsiteY154" fmla="*/ 29494 h 608067"/>
                <a:gd name="connsiteX155" fmla="*/ 151859 w 572723"/>
                <a:gd name="connsiteY155" fmla="*/ 34508 h 608067"/>
                <a:gd name="connsiteX156" fmla="*/ 146844 w 572723"/>
                <a:gd name="connsiteY156" fmla="*/ 39522 h 608067"/>
                <a:gd name="connsiteX157" fmla="*/ 142832 w 572723"/>
                <a:gd name="connsiteY157" fmla="*/ 38519 h 608067"/>
                <a:gd name="connsiteX158" fmla="*/ 141829 w 572723"/>
                <a:gd name="connsiteY158" fmla="*/ 39522 h 608067"/>
                <a:gd name="connsiteX159" fmla="*/ 137818 w 572723"/>
                <a:gd name="connsiteY159" fmla="*/ 40524 h 608067"/>
                <a:gd name="connsiteX160" fmla="*/ 124780 w 572723"/>
                <a:gd name="connsiteY160" fmla="*/ 50552 h 608067"/>
                <a:gd name="connsiteX161" fmla="*/ 112744 w 572723"/>
                <a:gd name="connsiteY161" fmla="*/ 62584 h 608067"/>
                <a:gd name="connsiteX162" fmla="*/ 118762 w 572723"/>
                <a:gd name="connsiteY162" fmla="*/ 50552 h 608067"/>
                <a:gd name="connsiteX163" fmla="*/ 119765 w 572723"/>
                <a:gd name="connsiteY163" fmla="*/ 50552 h 608067"/>
                <a:gd name="connsiteX164" fmla="*/ 122774 w 572723"/>
                <a:gd name="connsiteY164" fmla="*/ 45538 h 608067"/>
                <a:gd name="connsiteX165" fmla="*/ 109736 w 572723"/>
                <a:gd name="connsiteY165" fmla="*/ 57571 h 608067"/>
                <a:gd name="connsiteX166" fmla="*/ 106727 w 572723"/>
                <a:gd name="connsiteY166" fmla="*/ 59576 h 608067"/>
                <a:gd name="connsiteX167" fmla="*/ 106727 w 572723"/>
                <a:gd name="connsiteY167" fmla="*/ 59576 h 608067"/>
                <a:gd name="connsiteX168" fmla="*/ 104721 w 572723"/>
                <a:gd name="connsiteY168" fmla="*/ 59576 h 608067"/>
                <a:gd name="connsiteX169" fmla="*/ 104721 w 572723"/>
                <a:gd name="connsiteY169" fmla="*/ 58573 h 608067"/>
                <a:gd name="connsiteX170" fmla="*/ 93688 w 572723"/>
                <a:gd name="connsiteY170" fmla="*/ 68601 h 608067"/>
                <a:gd name="connsiteX171" fmla="*/ 80650 w 572723"/>
                <a:gd name="connsiteY171" fmla="*/ 84644 h 608067"/>
                <a:gd name="connsiteX172" fmla="*/ 78644 w 572723"/>
                <a:gd name="connsiteY172" fmla="*/ 88655 h 608067"/>
                <a:gd name="connsiteX173" fmla="*/ 58586 w 572723"/>
                <a:gd name="connsiteY173" fmla="*/ 112721 h 608067"/>
                <a:gd name="connsiteX174" fmla="*/ 61595 w 572723"/>
                <a:gd name="connsiteY174" fmla="*/ 113723 h 608067"/>
                <a:gd name="connsiteX175" fmla="*/ 56580 w 572723"/>
                <a:gd name="connsiteY175" fmla="*/ 121745 h 608067"/>
                <a:gd name="connsiteX176" fmla="*/ 51565 w 572723"/>
                <a:gd name="connsiteY176" fmla="*/ 123751 h 608067"/>
                <a:gd name="connsiteX177" fmla="*/ 46550 w 572723"/>
                <a:gd name="connsiteY177" fmla="*/ 124753 h 608067"/>
                <a:gd name="connsiteX178" fmla="*/ 40533 w 572723"/>
                <a:gd name="connsiteY178" fmla="*/ 136786 h 608067"/>
                <a:gd name="connsiteX179" fmla="*/ 39530 w 572723"/>
                <a:gd name="connsiteY179" fmla="*/ 144808 h 608067"/>
                <a:gd name="connsiteX180" fmla="*/ 31506 w 572723"/>
                <a:gd name="connsiteY180" fmla="*/ 156841 h 608067"/>
                <a:gd name="connsiteX181" fmla="*/ 29501 w 572723"/>
                <a:gd name="connsiteY181" fmla="*/ 154835 h 608067"/>
                <a:gd name="connsiteX182" fmla="*/ 19471 w 572723"/>
                <a:gd name="connsiteY182" fmla="*/ 173887 h 608067"/>
                <a:gd name="connsiteX183" fmla="*/ 16462 w 572723"/>
                <a:gd name="connsiteY183" fmla="*/ 194944 h 608067"/>
                <a:gd name="connsiteX184" fmla="*/ 17465 w 572723"/>
                <a:gd name="connsiteY184" fmla="*/ 206977 h 608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</a:cxnLst>
              <a:rect l="l" t="t" r="r" b="b"/>
              <a:pathLst>
                <a:path w="572723" h="608067">
                  <a:moveTo>
                    <a:pt x="17465" y="206977"/>
                  </a:moveTo>
                  <a:lnTo>
                    <a:pt x="15460" y="213996"/>
                  </a:lnTo>
                  <a:cubicBezTo>
                    <a:pt x="20474" y="189931"/>
                    <a:pt x="29501" y="165865"/>
                    <a:pt x="40533" y="142802"/>
                  </a:cubicBezTo>
                  <a:cubicBezTo>
                    <a:pt x="25489" y="165865"/>
                    <a:pt x="12451" y="194944"/>
                    <a:pt x="6433" y="223020"/>
                  </a:cubicBezTo>
                  <a:cubicBezTo>
                    <a:pt x="415" y="251097"/>
                    <a:pt x="1418" y="279173"/>
                    <a:pt x="8439" y="300230"/>
                  </a:cubicBezTo>
                  <a:cubicBezTo>
                    <a:pt x="4427" y="302236"/>
                    <a:pt x="1418" y="317277"/>
                    <a:pt x="415" y="331315"/>
                  </a:cubicBezTo>
                  <a:cubicBezTo>
                    <a:pt x="-588" y="345353"/>
                    <a:pt x="415" y="359391"/>
                    <a:pt x="1418" y="359391"/>
                  </a:cubicBezTo>
                  <a:cubicBezTo>
                    <a:pt x="4427" y="370421"/>
                    <a:pt x="7436" y="381451"/>
                    <a:pt x="10445" y="392481"/>
                  </a:cubicBezTo>
                  <a:cubicBezTo>
                    <a:pt x="8439" y="384459"/>
                    <a:pt x="6433" y="377440"/>
                    <a:pt x="4427" y="369418"/>
                  </a:cubicBezTo>
                  <a:cubicBezTo>
                    <a:pt x="6433" y="376438"/>
                    <a:pt x="8439" y="384459"/>
                    <a:pt x="10445" y="392481"/>
                  </a:cubicBezTo>
                  <a:cubicBezTo>
                    <a:pt x="15460" y="409528"/>
                    <a:pt x="21477" y="427577"/>
                    <a:pt x="29501" y="445626"/>
                  </a:cubicBezTo>
                  <a:cubicBezTo>
                    <a:pt x="37524" y="463675"/>
                    <a:pt x="47553" y="480721"/>
                    <a:pt x="60592" y="496765"/>
                  </a:cubicBezTo>
                  <a:cubicBezTo>
                    <a:pt x="86668" y="527849"/>
                    <a:pt x="120768" y="551915"/>
                    <a:pt x="156874" y="569964"/>
                  </a:cubicBezTo>
                  <a:cubicBezTo>
                    <a:pt x="176932" y="579991"/>
                    <a:pt x="216047" y="594029"/>
                    <a:pt x="257167" y="601048"/>
                  </a:cubicBezTo>
                  <a:cubicBezTo>
                    <a:pt x="278229" y="605059"/>
                    <a:pt x="299291" y="607064"/>
                    <a:pt x="317343" y="608067"/>
                  </a:cubicBezTo>
                  <a:cubicBezTo>
                    <a:pt x="336399" y="608067"/>
                    <a:pt x="353449" y="608067"/>
                    <a:pt x="364481" y="607064"/>
                  </a:cubicBezTo>
                  <a:cubicBezTo>
                    <a:pt x="371502" y="606062"/>
                    <a:pt x="378523" y="606062"/>
                    <a:pt x="385543" y="604056"/>
                  </a:cubicBezTo>
                  <a:cubicBezTo>
                    <a:pt x="373508" y="606062"/>
                    <a:pt x="373508" y="605059"/>
                    <a:pt x="362476" y="606062"/>
                  </a:cubicBezTo>
                  <a:cubicBezTo>
                    <a:pt x="390558" y="600045"/>
                    <a:pt x="415631" y="591021"/>
                    <a:pt x="438699" y="578988"/>
                  </a:cubicBezTo>
                  <a:cubicBezTo>
                    <a:pt x="433684" y="579991"/>
                    <a:pt x="432681" y="578988"/>
                    <a:pt x="422652" y="580994"/>
                  </a:cubicBezTo>
                  <a:cubicBezTo>
                    <a:pt x="426664" y="579991"/>
                    <a:pt x="430675" y="578988"/>
                    <a:pt x="434687" y="576983"/>
                  </a:cubicBezTo>
                  <a:cubicBezTo>
                    <a:pt x="444716" y="569964"/>
                    <a:pt x="467784" y="555925"/>
                    <a:pt x="476810" y="546901"/>
                  </a:cubicBezTo>
                  <a:cubicBezTo>
                    <a:pt x="475807" y="549909"/>
                    <a:pt x="483831" y="543893"/>
                    <a:pt x="490852" y="537876"/>
                  </a:cubicBezTo>
                  <a:lnTo>
                    <a:pt x="487843" y="538879"/>
                  </a:lnTo>
                  <a:cubicBezTo>
                    <a:pt x="500881" y="527849"/>
                    <a:pt x="512916" y="513811"/>
                    <a:pt x="521943" y="498770"/>
                  </a:cubicBezTo>
                  <a:cubicBezTo>
                    <a:pt x="530969" y="483729"/>
                    <a:pt x="537990" y="467686"/>
                    <a:pt x="543004" y="454650"/>
                  </a:cubicBezTo>
                  <a:cubicBezTo>
                    <a:pt x="544007" y="450639"/>
                    <a:pt x="546013" y="448634"/>
                    <a:pt x="547016" y="446628"/>
                  </a:cubicBezTo>
                  <a:cubicBezTo>
                    <a:pt x="549022" y="437604"/>
                    <a:pt x="552031" y="428579"/>
                    <a:pt x="553034" y="419555"/>
                  </a:cubicBezTo>
                  <a:cubicBezTo>
                    <a:pt x="555039" y="422563"/>
                    <a:pt x="560054" y="397495"/>
                    <a:pt x="559051" y="411533"/>
                  </a:cubicBezTo>
                  <a:cubicBezTo>
                    <a:pt x="561057" y="390476"/>
                    <a:pt x="566072" y="371424"/>
                    <a:pt x="566072" y="352372"/>
                  </a:cubicBezTo>
                  <a:cubicBezTo>
                    <a:pt x="571086" y="319282"/>
                    <a:pt x="575098" y="283184"/>
                    <a:pt x="571086" y="246083"/>
                  </a:cubicBezTo>
                  <a:cubicBezTo>
                    <a:pt x="567075" y="208982"/>
                    <a:pt x="552031" y="171881"/>
                    <a:pt x="528963" y="144808"/>
                  </a:cubicBezTo>
                  <a:lnTo>
                    <a:pt x="528963" y="146813"/>
                  </a:lnTo>
                  <a:cubicBezTo>
                    <a:pt x="512916" y="127761"/>
                    <a:pt x="493860" y="114726"/>
                    <a:pt x="469790" y="96677"/>
                  </a:cubicBezTo>
                  <a:cubicBezTo>
                    <a:pt x="459760" y="91663"/>
                    <a:pt x="447725" y="86650"/>
                    <a:pt x="437696" y="83642"/>
                  </a:cubicBezTo>
                  <a:cubicBezTo>
                    <a:pt x="432681" y="81636"/>
                    <a:pt x="427666" y="80633"/>
                    <a:pt x="422652" y="80633"/>
                  </a:cubicBezTo>
                  <a:cubicBezTo>
                    <a:pt x="418640" y="80633"/>
                    <a:pt x="414628" y="79631"/>
                    <a:pt x="412622" y="80633"/>
                  </a:cubicBezTo>
                  <a:cubicBezTo>
                    <a:pt x="406605" y="79631"/>
                    <a:pt x="401590" y="78628"/>
                    <a:pt x="397578" y="77625"/>
                  </a:cubicBezTo>
                  <a:cubicBezTo>
                    <a:pt x="392564" y="77625"/>
                    <a:pt x="388552" y="76622"/>
                    <a:pt x="384540" y="76622"/>
                  </a:cubicBezTo>
                  <a:cubicBezTo>
                    <a:pt x="380528" y="76622"/>
                    <a:pt x="376517" y="76622"/>
                    <a:pt x="372505" y="76622"/>
                  </a:cubicBezTo>
                  <a:cubicBezTo>
                    <a:pt x="368493" y="76622"/>
                    <a:pt x="363479" y="76622"/>
                    <a:pt x="357461" y="77625"/>
                  </a:cubicBezTo>
                  <a:cubicBezTo>
                    <a:pt x="360470" y="78628"/>
                    <a:pt x="355455" y="79631"/>
                    <a:pt x="350440" y="80633"/>
                  </a:cubicBezTo>
                  <a:cubicBezTo>
                    <a:pt x="346429" y="81636"/>
                    <a:pt x="341414" y="82639"/>
                    <a:pt x="347432" y="82639"/>
                  </a:cubicBezTo>
                  <a:cubicBezTo>
                    <a:pt x="361473" y="85647"/>
                    <a:pt x="362476" y="82639"/>
                    <a:pt x="374511" y="85647"/>
                  </a:cubicBezTo>
                  <a:lnTo>
                    <a:pt x="374511" y="84644"/>
                  </a:lnTo>
                  <a:cubicBezTo>
                    <a:pt x="402593" y="88655"/>
                    <a:pt x="428669" y="99685"/>
                    <a:pt x="451737" y="115729"/>
                  </a:cubicBezTo>
                  <a:cubicBezTo>
                    <a:pt x="474804" y="131772"/>
                    <a:pt x="494863" y="151827"/>
                    <a:pt x="507901" y="175892"/>
                  </a:cubicBezTo>
                  <a:cubicBezTo>
                    <a:pt x="518934" y="190933"/>
                    <a:pt x="525954" y="208982"/>
                    <a:pt x="528963" y="228034"/>
                  </a:cubicBezTo>
                  <a:cubicBezTo>
                    <a:pt x="532975" y="247086"/>
                    <a:pt x="532975" y="268143"/>
                    <a:pt x="531972" y="288198"/>
                  </a:cubicBezTo>
                  <a:cubicBezTo>
                    <a:pt x="530969" y="310258"/>
                    <a:pt x="527960" y="334323"/>
                    <a:pt x="524951" y="357386"/>
                  </a:cubicBezTo>
                  <a:cubicBezTo>
                    <a:pt x="521943" y="380448"/>
                    <a:pt x="518934" y="402508"/>
                    <a:pt x="513919" y="420557"/>
                  </a:cubicBezTo>
                  <a:cubicBezTo>
                    <a:pt x="511913" y="429582"/>
                    <a:pt x="507901" y="434596"/>
                    <a:pt x="503890" y="441615"/>
                  </a:cubicBezTo>
                  <a:cubicBezTo>
                    <a:pt x="497872" y="457658"/>
                    <a:pt x="489849" y="474705"/>
                    <a:pt x="477813" y="489746"/>
                  </a:cubicBezTo>
                  <a:cubicBezTo>
                    <a:pt x="465778" y="504786"/>
                    <a:pt x="450734" y="517822"/>
                    <a:pt x="434687" y="527849"/>
                  </a:cubicBezTo>
                  <a:cubicBezTo>
                    <a:pt x="435690" y="527849"/>
                    <a:pt x="435690" y="526846"/>
                    <a:pt x="436693" y="526846"/>
                  </a:cubicBezTo>
                  <a:cubicBezTo>
                    <a:pt x="419643" y="536874"/>
                    <a:pt x="404599" y="540885"/>
                    <a:pt x="385543" y="545898"/>
                  </a:cubicBezTo>
                  <a:cubicBezTo>
                    <a:pt x="385543" y="546901"/>
                    <a:pt x="382534" y="547904"/>
                    <a:pt x="381531" y="547904"/>
                  </a:cubicBezTo>
                  <a:cubicBezTo>
                    <a:pt x="380528" y="546901"/>
                    <a:pt x="372505" y="548906"/>
                    <a:pt x="361473" y="550912"/>
                  </a:cubicBezTo>
                  <a:cubicBezTo>
                    <a:pt x="350440" y="552917"/>
                    <a:pt x="335396" y="554923"/>
                    <a:pt x="320352" y="556928"/>
                  </a:cubicBezTo>
                  <a:cubicBezTo>
                    <a:pt x="289261" y="558934"/>
                    <a:pt x="257167" y="555925"/>
                    <a:pt x="254158" y="553920"/>
                  </a:cubicBezTo>
                  <a:cubicBezTo>
                    <a:pt x="252153" y="553920"/>
                    <a:pt x="250147" y="552917"/>
                    <a:pt x="247138" y="552917"/>
                  </a:cubicBezTo>
                  <a:cubicBezTo>
                    <a:pt x="226076" y="547904"/>
                    <a:pt x="204012" y="539882"/>
                    <a:pt x="184956" y="529855"/>
                  </a:cubicBezTo>
                  <a:cubicBezTo>
                    <a:pt x="165900" y="520830"/>
                    <a:pt x="148850" y="509800"/>
                    <a:pt x="133806" y="500776"/>
                  </a:cubicBezTo>
                  <a:cubicBezTo>
                    <a:pt x="126785" y="497767"/>
                    <a:pt x="118762" y="493756"/>
                    <a:pt x="112744" y="490748"/>
                  </a:cubicBezTo>
                  <a:cubicBezTo>
                    <a:pt x="108733" y="485735"/>
                    <a:pt x="105724" y="486737"/>
                    <a:pt x="100709" y="480721"/>
                  </a:cubicBezTo>
                  <a:cubicBezTo>
                    <a:pt x="91683" y="462672"/>
                    <a:pt x="84662" y="454650"/>
                    <a:pt x="87671" y="464677"/>
                  </a:cubicBezTo>
                  <a:cubicBezTo>
                    <a:pt x="76639" y="452645"/>
                    <a:pt x="69618" y="438606"/>
                    <a:pt x="64603" y="425571"/>
                  </a:cubicBezTo>
                  <a:cubicBezTo>
                    <a:pt x="61595" y="419555"/>
                    <a:pt x="58586" y="413538"/>
                    <a:pt x="56580" y="407522"/>
                  </a:cubicBezTo>
                  <a:cubicBezTo>
                    <a:pt x="54574" y="402508"/>
                    <a:pt x="54574" y="398497"/>
                    <a:pt x="55577" y="395489"/>
                  </a:cubicBezTo>
                  <a:cubicBezTo>
                    <a:pt x="51565" y="381451"/>
                    <a:pt x="53571" y="385462"/>
                    <a:pt x="51565" y="369418"/>
                  </a:cubicBezTo>
                  <a:cubicBezTo>
                    <a:pt x="52568" y="367413"/>
                    <a:pt x="49559" y="357386"/>
                    <a:pt x="47553" y="347358"/>
                  </a:cubicBezTo>
                  <a:cubicBezTo>
                    <a:pt x="45548" y="337331"/>
                    <a:pt x="43542" y="327304"/>
                    <a:pt x="43542" y="325299"/>
                  </a:cubicBezTo>
                  <a:lnTo>
                    <a:pt x="43542" y="328307"/>
                  </a:lnTo>
                  <a:cubicBezTo>
                    <a:pt x="42539" y="309255"/>
                    <a:pt x="47553" y="297222"/>
                    <a:pt x="48556" y="280176"/>
                  </a:cubicBezTo>
                  <a:cubicBezTo>
                    <a:pt x="50562" y="255108"/>
                    <a:pt x="54574" y="230040"/>
                    <a:pt x="61595" y="205974"/>
                  </a:cubicBezTo>
                  <a:cubicBezTo>
                    <a:pt x="67612" y="181909"/>
                    <a:pt x="77642" y="158846"/>
                    <a:pt x="89677" y="139794"/>
                  </a:cubicBezTo>
                  <a:cubicBezTo>
                    <a:pt x="87671" y="137789"/>
                    <a:pt x="85665" y="148819"/>
                    <a:pt x="82656" y="147816"/>
                  </a:cubicBezTo>
                  <a:cubicBezTo>
                    <a:pt x="95694" y="123751"/>
                    <a:pt x="113747" y="104699"/>
                    <a:pt x="132803" y="87652"/>
                  </a:cubicBezTo>
                  <a:cubicBezTo>
                    <a:pt x="136815" y="84644"/>
                    <a:pt x="141829" y="82639"/>
                    <a:pt x="143835" y="81636"/>
                  </a:cubicBezTo>
                  <a:cubicBezTo>
                    <a:pt x="150856" y="76622"/>
                    <a:pt x="146844" y="77625"/>
                    <a:pt x="151859" y="74617"/>
                  </a:cubicBezTo>
                  <a:lnTo>
                    <a:pt x="153865" y="75620"/>
                  </a:lnTo>
                  <a:cubicBezTo>
                    <a:pt x="159882" y="68601"/>
                    <a:pt x="165900" y="70606"/>
                    <a:pt x="171918" y="64590"/>
                  </a:cubicBezTo>
                  <a:cubicBezTo>
                    <a:pt x="171918" y="63587"/>
                    <a:pt x="173923" y="61582"/>
                    <a:pt x="176932" y="60579"/>
                  </a:cubicBezTo>
                  <a:cubicBezTo>
                    <a:pt x="177935" y="62584"/>
                    <a:pt x="184956" y="55565"/>
                    <a:pt x="184956" y="58573"/>
                  </a:cubicBezTo>
                  <a:lnTo>
                    <a:pt x="184956" y="58573"/>
                  </a:lnTo>
                  <a:cubicBezTo>
                    <a:pt x="186962" y="57571"/>
                    <a:pt x="187965" y="57571"/>
                    <a:pt x="189970" y="56568"/>
                  </a:cubicBezTo>
                  <a:cubicBezTo>
                    <a:pt x="190973" y="55565"/>
                    <a:pt x="197994" y="49549"/>
                    <a:pt x="206018" y="45538"/>
                  </a:cubicBezTo>
                  <a:cubicBezTo>
                    <a:pt x="213038" y="40524"/>
                    <a:pt x="221062" y="36513"/>
                    <a:pt x="223067" y="35511"/>
                  </a:cubicBezTo>
                  <a:lnTo>
                    <a:pt x="225073" y="35511"/>
                  </a:lnTo>
                  <a:cubicBezTo>
                    <a:pt x="230088" y="34508"/>
                    <a:pt x="231091" y="32503"/>
                    <a:pt x="228082" y="32503"/>
                  </a:cubicBezTo>
                  <a:lnTo>
                    <a:pt x="234100" y="31500"/>
                  </a:lnTo>
                  <a:lnTo>
                    <a:pt x="233097" y="31500"/>
                  </a:lnTo>
                  <a:lnTo>
                    <a:pt x="239114" y="30497"/>
                  </a:lnTo>
                  <a:cubicBezTo>
                    <a:pt x="240117" y="30497"/>
                    <a:pt x="241120" y="31500"/>
                    <a:pt x="240117" y="32503"/>
                  </a:cubicBezTo>
                  <a:cubicBezTo>
                    <a:pt x="243126" y="31500"/>
                    <a:pt x="247138" y="30497"/>
                    <a:pt x="250147" y="30497"/>
                  </a:cubicBezTo>
                  <a:cubicBezTo>
                    <a:pt x="241120" y="30497"/>
                    <a:pt x="229085" y="30497"/>
                    <a:pt x="219056" y="31500"/>
                  </a:cubicBezTo>
                  <a:cubicBezTo>
                    <a:pt x="223067" y="29494"/>
                    <a:pt x="230088" y="29494"/>
                    <a:pt x="234100" y="27489"/>
                  </a:cubicBezTo>
                  <a:cubicBezTo>
                    <a:pt x="237108" y="27489"/>
                    <a:pt x="241120" y="27489"/>
                    <a:pt x="245132" y="27489"/>
                  </a:cubicBezTo>
                  <a:cubicBezTo>
                    <a:pt x="249144" y="27489"/>
                    <a:pt x="254158" y="27489"/>
                    <a:pt x="258170" y="27489"/>
                  </a:cubicBezTo>
                  <a:cubicBezTo>
                    <a:pt x="260176" y="27489"/>
                    <a:pt x="261179" y="24481"/>
                    <a:pt x="265191" y="25483"/>
                  </a:cubicBezTo>
                  <a:cubicBezTo>
                    <a:pt x="267197" y="27489"/>
                    <a:pt x="270205" y="25483"/>
                    <a:pt x="273214" y="26486"/>
                  </a:cubicBezTo>
                  <a:cubicBezTo>
                    <a:pt x="269202" y="27489"/>
                    <a:pt x="265191" y="27489"/>
                    <a:pt x="261179" y="27489"/>
                  </a:cubicBezTo>
                  <a:cubicBezTo>
                    <a:pt x="261179" y="28492"/>
                    <a:pt x="264188" y="28492"/>
                    <a:pt x="266194" y="28492"/>
                  </a:cubicBezTo>
                  <a:cubicBezTo>
                    <a:pt x="269202" y="28492"/>
                    <a:pt x="272211" y="28492"/>
                    <a:pt x="273214" y="28492"/>
                  </a:cubicBezTo>
                  <a:cubicBezTo>
                    <a:pt x="274217" y="27489"/>
                    <a:pt x="282241" y="28492"/>
                    <a:pt x="287255" y="28492"/>
                  </a:cubicBezTo>
                  <a:cubicBezTo>
                    <a:pt x="285249" y="30497"/>
                    <a:pt x="291267" y="30497"/>
                    <a:pt x="293273" y="31500"/>
                  </a:cubicBezTo>
                  <a:cubicBezTo>
                    <a:pt x="296282" y="31500"/>
                    <a:pt x="298288" y="31500"/>
                    <a:pt x="297285" y="30497"/>
                  </a:cubicBezTo>
                  <a:cubicBezTo>
                    <a:pt x="298288" y="28492"/>
                    <a:pt x="285249" y="27489"/>
                    <a:pt x="289261" y="25483"/>
                  </a:cubicBezTo>
                  <a:cubicBezTo>
                    <a:pt x="290264" y="26486"/>
                    <a:pt x="296282" y="26486"/>
                    <a:pt x="300294" y="27489"/>
                  </a:cubicBezTo>
                  <a:cubicBezTo>
                    <a:pt x="300294" y="26486"/>
                    <a:pt x="298288" y="26486"/>
                    <a:pt x="300294" y="25483"/>
                  </a:cubicBezTo>
                  <a:cubicBezTo>
                    <a:pt x="304305" y="26486"/>
                    <a:pt x="308317" y="25483"/>
                    <a:pt x="310323" y="27489"/>
                  </a:cubicBezTo>
                  <a:cubicBezTo>
                    <a:pt x="309320" y="27489"/>
                    <a:pt x="308317" y="27489"/>
                    <a:pt x="307314" y="26486"/>
                  </a:cubicBezTo>
                  <a:cubicBezTo>
                    <a:pt x="309320" y="27489"/>
                    <a:pt x="302299" y="27489"/>
                    <a:pt x="296282" y="28492"/>
                  </a:cubicBezTo>
                  <a:cubicBezTo>
                    <a:pt x="289261" y="29494"/>
                    <a:pt x="283244" y="31500"/>
                    <a:pt x="286252" y="30497"/>
                  </a:cubicBezTo>
                  <a:cubicBezTo>
                    <a:pt x="285249" y="30497"/>
                    <a:pt x="292270" y="28492"/>
                    <a:pt x="299291" y="27489"/>
                  </a:cubicBezTo>
                  <a:cubicBezTo>
                    <a:pt x="306311" y="27489"/>
                    <a:pt x="313332" y="26486"/>
                    <a:pt x="311326" y="26486"/>
                  </a:cubicBezTo>
                  <a:cubicBezTo>
                    <a:pt x="308317" y="25483"/>
                    <a:pt x="314335" y="24481"/>
                    <a:pt x="311326" y="23478"/>
                  </a:cubicBezTo>
                  <a:lnTo>
                    <a:pt x="307314" y="24481"/>
                  </a:lnTo>
                  <a:cubicBezTo>
                    <a:pt x="303302" y="23478"/>
                    <a:pt x="302299" y="20470"/>
                    <a:pt x="303302" y="20470"/>
                  </a:cubicBezTo>
                  <a:cubicBezTo>
                    <a:pt x="307314" y="21473"/>
                    <a:pt x="301297" y="22475"/>
                    <a:pt x="296282" y="23478"/>
                  </a:cubicBezTo>
                  <a:cubicBezTo>
                    <a:pt x="291267" y="24481"/>
                    <a:pt x="285249" y="26486"/>
                    <a:pt x="288258" y="25483"/>
                  </a:cubicBezTo>
                  <a:lnTo>
                    <a:pt x="286252" y="24481"/>
                  </a:lnTo>
                  <a:cubicBezTo>
                    <a:pt x="289261" y="24481"/>
                    <a:pt x="296282" y="23478"/>
                    <a:pt x="298288" y="25483"/>
                  </a:cubicBezTo>
                  <a:cubicBezTo>
                    <a:pt x="298288" y="24481"/>
                    <a:pt x="302299" y="24481"/>
                    <a:pt x="305308" y="24481"/>
                  </a:cubicBezTo>
                  <a:lnTo>
                    <a:pt x="306311" y="24481"/>
                  </a:lnTo>
                  <a:cubicBezTo>
                    <a:pt x="309320" y="24481"/>
                    <a:pt x="313332" y="25483"/>
                    <a:pt x="312329" y="23478"/>
                  </a:cubicBezTo>
                  <a:cubicBezTo>
                    <a:pt x="303302" y="22475"/>
                    <a:pt x="307314" y="19467"/>
                    <a:pt x="310323" y="16459"/>
                  </a:cubicBezTo>
                  <a:cubicBezTo>
                    <a:pt x="314335" y="13451"/>
                    <a:pt x="318346" y="11445"/>
                    <a:pt x="309320" y="9440"/>
                  </a:cubicBezTo>
                  <a:cubicBezTo>
                    <a:pt x="316341" y="13451"/>
                    <a:pt x="306311" y="11445"/>
                    <a:pt x="298288" y="10443"/>
                  </a:cubicBezTo>
                  <a:cubicBezTo>
                    <a:pt x="297285" y="9440"/>
                    <a:pt x="294276" y="7434"/>
                    <a:pt x="288258" y="6432"/>
                  </a:cubicBezTo>
                  <a:cubicBezTo>
                    <a:pt x="283244" y="6432"/>
                    <a:pt x="285249" y="7434"/>
                    <a:pt x="284246" y="7434"/>
                  </a:cubicBezTo>
                  <a:cubicBezTo>
                    <a:pt x="281238" y="6432"/>
                    <a:pt x="276223" y="6432"/>
                    <a:pt x="277226" y="4426"/>
                  </a:cubicBezTo>
                  <a:cubicBezTo>
                    <a:pt x="273214" y="6432"/>
                    <a:pt x="271208" y="3424"/>
                    <a:pt x="266194" y="4426"/>
                  </a:cubicBezTo>
                  <a:cubicBezTo>
                    <a:pt x="262182" y="5429"/>
                    <a:pt x="266194" y="5429"/>
                    <a:pt x="263185" y="6432"/>
                  </a:cubicBezTo>
                  <a:cubicBezTo>
                    <a:pt x="257167" y="6432"/>
                    <a:pt x="248141" y="7434"/>
                    <a:pt x="243126" y="7434"/>
                  </a:cubicBezTo>
                  <a:cubicBezTo>
                    <a:pt x="241120" y="6432"/>
                    <a:pt x="235103" y="5429"/>
                    <a:pt x="239114" y="2421"/>
                  </a:cubicBezTo>
                  <a:cubicBezTo>
                    <a:pt x="249144" y="1418"/>
                    <a:pt x="236106" y="6432"/>
                    <a:pt x="246135" y="4426"/>
                  </a:cubicBezTo>
                  <a:cubicBezTo>
                    <a:pt x="241120" y="2421"/>
                    <a:pt x="255161" y="2421"/>
                    <a:pt x="256164" y="415"/>
                  </a:cubicBezTo>
                  <a:cubicBezTo>
                    <a:pt x="253156" y="-587"/>
                    <a:pt x="246135" y="415"/>
                    <a:pt x="241120" y="1418"/>
                  </a:cubicBezTo>
                  <a:lnTo>
                    <a:pt x="242123" y="1418"/>
                  </a:lnTo>
                  <a:cubicBezTo>
                    <a:pt x="237108" y="2421"/>
                    <a:pt x="228082" y="5429"/>
                    <a:pt x="222064" y="4426"/>
                  </a:cubicBezTo>
                  <a:cubicBezTo>
                    <a:pt x="223067" y="3424"/>
                    <a:pt x="221062" y="2421"/>
                    <a:pt x="224070" y="1418"/>
                  </a:cubicBezTo>
                  <a:lnTo>
                    <a:pt x="217050" y="2421"/>
                  </a:lnTo>
                  <a:cubicBezTo>
                    <a:pt x="216047" y="3424"/>
                    <a:pt x="215044" y="3424"/>
                    <a:pt x="217050" y="3424"/>
                  </a:cubicBezTo>
                  <a:cubicBezTo>
                    <a:pt x="214041" y="5429"/>
                    <a:pt x="211032" y="5429"/>
                    <a:pt x="208023" y="5429"/>
                  </a:cubicBezTo>
                  <a:cubicBezTo>
                    <a:pt x="207020" y="5429"/>
                    <a:pt x="198997" y="8437"/>
                    <a:pt x="191976" y="13451"/>
                  </a:cubicBezTo>
                  <a:cubicBezTo>
                    <a:pt x="183953" y="17462"/>
                    <a:pt x="176932" y="22475"/>
                    <a:pt x="177935" y="22475"/>
                  </a:cubicBezTo>
                  <a:cubicBezTo>
                    <a:pt x="173923" y="24481"/>
                    <a:pt x="171918" y="23478"/>
                    <a:pt x="167906" y="26486"/>
                  </a:cubicBezTo>
                  <a:cubicBezTo>
                    <a:pt x="167906" y="26486"/>
                    <a:pt x="169912" y="25483"/>
                    <a:pt x="173923" y="23478"/>
                  </a:cubicBezTo>
                  <a:cubicBezTo>
                    <a:pt x="177935" y="21473"/>
                    <a:pt x="181947" y="18464"/>
                    <a:pt x="186962" y="15456"/>
                  </a:cubicBezTo>
                  <a:cubicBezTo>
                    <a:pt x="191976" y="13451"/>
                    <a:pt x="195988" y="10443"/>
                    <a:pt x="200000" y="8437"/>
                  </a:cubicBezTo>
                  <a:cubicBezTo>
                    <a:pt x="203009" y="7434"/>
                    <a:pt x="205015" y="6432"/>
                    <a:pt x="203009" y="6432"/>
                  </a:cubicBezTo>
                  <a:cubicBezTo>
                    <a:pt x="202006" y="6432"/>
                    <a:pt x="197994" y="7434"/>
                    <a:pt x="192979" y="10443"/>
                  </a:cubicBezTo>
                  <a:cubicBezTo>
                    <a:pt x="187965" y="12448"/>
                    <a:pt x="181947" y="16459"/>
                    <a:pt x="175929" y="19467"/>
                  </a:cubicBezTo>
                  <a:cubicBezTo>
                    <a:pt x="169912" y="22475"/>
                    <a:pt x="164897" y="26486"/>
                    <a:pt x="159882" y="29494"/>
                  </a:cubicBezTo>
                  <a:cubicBezTo>
                    <a:pt x="155871" y="32503"/>
                    <a:pt x="152862" y="34508"/>
                    <a:pt x="151859" y="34508"/>
                  </a:cubicBezTo>
                  <a:cubicBezTo>
                    <a:pt x="148850" y="36513"/>
                    <a:pt x="145841" y="39522"/>
                    <a:pt x="146844" y="39522"/>
                  </a:cubicBezTo>
                  <a:cubicBezTo>
                    <a:pt x="141829" y="42530"/>
                    <a:pt x="146844" y="36513"/>
                    <a:pt x="142832" y="38519"/>
                  </a:cubicBezTo>
                  <a:cubicBezTo>
                    <a:pt x="142832" y="38519"/>
                    <a:pt x="143835" y="38519"/>
                    <a:pt x="141829" y="39522"/>
                  </a:cubicBezTo>
                  <a:cubicBezTo>
                    <a:pt x="140827" y="39522"/>
                    <a:pt x="138821" y="40524"/>
                    <a:pt x="137818" y="40524"/>
                  </a:cubicBezTo>
                  <a:cubicBezTo>
                    <a:pt x="134809" y="44535"/>
                    <a:pt x="129794" y="47543"/>
                    <a:pt x="124780" y="50552"/>
                  </a:cubicBezTo>
                  <a:cubicBezTo>
                    <a:pt x="120768" y="54563"/>
                    <a:pt x="115753" y="58573"/>
                    <a:pt x="112744" y="62584"/>
                  </a:cubicBezTo>
                  <a:cubicBezTo>
                    <a:pt x="113747" y="59576"/>
                    <a:pt x="114750" y="55565"/>
                    <a:pt x="118762" y="50552"/>
                  </a:cubicBezTo>
                  <a:lnTo>
                    <a:pt x="119765" y="50552"/>
                  </a:lnTo>
                  <a:cubicBezTo>
                    <a:pt x="119765" y="49549"/>
                    <a:pt x="123777" y="45538"/>
                    <a:pt x="122774" y="45538"/>
                  </a:cubicBezTo>
                  <a:cubicBezTo>
                    <a:pt x="117759" y="48546"/>
                    <a:pt x="113747" y="52557"/>
                    <a:pt x="109736" y="57571"/>
                  </a:cubicBezTo>
                  <a:cubicBezTo>
                    <a:pt x="108733" y="58573"/>
                    <a:pt x="107730" y="58573"/>
                    <a:pt x="106727" y="59576"/>
                  </a:cubicBezTo>
                  <a:cubicBezTo>
                    <a:pt x="106727" y="59576"/>
                    <a:pt x="106727" y="59576"/>
                    <a:pt x="106727" y="59576"/>
                  </a:cubicBezTo>
                  <a:cubicBezTo>
                    <a:pt x="104721" y="60579"/>
                    <a:pt x="104721" y="60579"/>
                    <a:pt x="104721" y="59576"/>
                  </a:cubicBezTo>
                  <a:cubicBezTo>
                    <a:pt x="104721" y="59576"/>
                    <a:pt x="104721" y="59576"/>
                    <a:pt x="104721" y="58573"/>
                  </a:cubicBezTo>
                  <a:cubicBezTo>
                    <a:pt x="101712" y="58573"/>
                    <a:pt x="98703" y="63587"/>
                    <a:pt x="93688" y="68601"/>
                  </a:cubicBezTo>
                  <a:cubicBezTo>
                    <a:pt x="89677" y="74617"/>
                    <a:pt x="84662" y="80633"/>
                    <a:pt x="80650" y="84644"/>
                  </a:cubicBezTo>
                  <a:cubicBezTo>
                    <a:pt x="78644" y="87652"/>
                    <a:pt x="80650" y="85647"/>
                    <a:pt x="78644" y="88655"/>
                  </a:cubicBezTo>
                  <a:cubicBezTo>
                    <a:pt x="70621" y="96677"/>
                    <a:pt x="65606" y="102693"/>
                    <a:pt x="58586" y="112721"/>
                  </a:cubicBezTo>
                  <a:cubicBezTo>
                    <a:pt x="57583" y="116732"/>
                    <a:pt x="58586" y="117734"/>
                    <a:pt x="61595" y="113723"/>
                  </a:cubicBezTo>
                  <a:lnTo>
                    <a:pt x="56580" y="121745"/>
                  </a:lnTo>
                  <a:cubicBezTo>
                    <a:pt x="56580" y="117734"/>
                    <a:pt x="53571" y="120742"/>
                    <a:pt x="51565" y="123751"/>
                  </a:cubicBezTo>
                  <a:cubicBezTo>
                    <a:pt x="48556" y="126759"/>
                    <a:pt x="46550" y="129767"/>
                    <a:pt x="46550" y="124753"/>
                  </a:cubicBezTo>
                  <a:cubicBezTo>
                    <a:pt x="44545" y="126759"/>
                    <a:pt x="41536" y="131772"/>
                    <a:pt x="40533" y="136786"/>
                  </a:cubicBezTo>
                  <a:cubicBezTo>
                    <a:pt x="41536" y="137789"/>
                    <a:pt x="42539" y="138792"/>
                    <a:pt x="39530" y="144808"/>
                  </a:cubicBezTo>
                  <a:cubicBezTo>
                    <a:pt x="34515" y="152830"/>
                    <a:pt x="35518" y="150824"/>
                    <a:pt x="31506" y="156841"/>
                  </a:cubicBezTo>
                  <a:cubicBezTo>
                    <a:pt x="29501" y="157843"/>
                    <a:pt x="30504" y="154835"/>
                    <a:pt x="29501" y="154835"/>
                  </a:cubicBezTo>
                  <a:cubicBezTo>
                    <a:pt x="27495" y="165865"/>
                    <a:pt x="23483" y="162857"/>
                    <a:pt x="19471" y="173887"/>
                  </a:cubicBezTo>
                  <a:cubicBezTo>
                    <a:pt x="17465" y="180906"/>
                    <a:pt x="14457" y="193941"/>
                    <a:pt x="16462" y="194944"/>
                  </a:cubicBezTo>
                  <a:cubicBezTo>
                    <a:pt x="20474" y="208982"/>
                    <a:pt x="19471" y="207980"/>
                    <a:pt x="17465" y="206977"/>
                  </a:cubicBezTo>
                  <a:close/>
                </a:path>
              </a:pathLst>
            </a:custGeom>
            <a:solidFill>
              <a:srgbClr val="154573"/>
            </a:solidFill>
            <a:ln w="100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 sz="1800"/>
            </a:p>
          </p:txBody>
        </p:sp>
      </p:grpSp>
      <p:grpSp>
        <p:nvGrpSpPr>
          <p:cNvPr id="26" name="Gruppe 25">
            <a:extLst>
              <a:ext uri="{FF2B5EF4-FFF2-40B4-BE49-F238E27FC236}">
                <a16:creationId xmlns:a16="http://schemas.microsoft.com/office/drawing/2014/main" id="{088A53C9-7CE7-AD48-8870-F4DF2FF74E86}"/>
              </a:ext>
            </a:extLst>
          </p:cNvPr>
          <p:cNvGrpSpPr/>
          <p:nvPr userDrawn="1"/>
        </p:nvGrpSpPr>
        <p:grpSpPr>
          <a:xfrm>
            <a:off x="1308676" y="5490022"/>
            <a:ext cx="580929" cy="906402"/>
            <a:chOff x="4467788" y="4090750"/>
            <a:chExt cx="580929" cy="906402"/>
          </a:xfrm>
        </p:grpSpPr>
        <p:sp>
          <p:nvSpPr>
            <p:cNvPr id="17" name="Tekstfelt 16">
              <a:extLst>
                <a:ext uri="{FF2B5EF4-FFF2-40B4-BE49-F238E27FC236}">
                  <a16:creationId xmlns:a16="http://schemas.microsoft.com/office/drawing/2014/main" id="{4566AFE7-5DED-5B48-97A5-4133C1C75FB4}"/>
                </a:ext>
              </a:extLst>
            </p:cNvPr>
            <p:cNvSpPr txBox="1"/>
            <p:nvPr/>
          </p:nvSpPr>
          <p:spPr>
            <a:xfrm>
              <a:off x="4521008" y="4090750"/>
              <a:ext cx="527709" cy="9064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da-DK" sz="5290" spc="0" baseline="0">
                  <a:solidFill>
                    <a:srgbClr val="154573"/>
                  </a:solidFill>
                  <a:latin typeface="Manus"/>
                  <a:sym typeface="Manus"/>
                  <a:rtl val="0"/>
                </a:rPr>
                <a:t>5</a:t>
              </a:r>
            </a:p>
          </p:txBody>
        </p:sp>
        <p:sp>
          <p:nvSpPr>
            <p:cNvPr id="18" name="Kombinationstegning 17">
              <a:extLst>
                <a:ext uri="{FF2B5EF4-FFF2-40B4-BE49-F238E27FC236}">
                  <a16:creationId xmlns:a16="http://schemas.microsoft.com/office/drawing/2014/main" id="{389A7E92-22F2-8647-871D-CC13CB86CC94}"/>
                </a:ext>
              </a:extLst>
            </p:cNvPr>
            <p:cNvSpPr/>
            <p:nvPr/>
          </p:nvSpPr>
          <p:spPr>
            <a:xfrm>
              <a:off x="4467788" y="4173686"/>
              <a:ext cx="572723" cy="606061"/>
            </a:xfrm>
            <a:custGeom>
              <a:avLst/>
              <a:gdLst>
                <a:gd name="connsiteX0" fmla="*/ 17465 w 572723"/>
                <a:gd name="connsiteY0" fmla="*/ 204971 h 606061"/>
                <a:gd name="connsiteX1" fmla="*/ 15460 w 572723"/>
                <a:gd name="connsiteY1" fmla="*/ 211990 h 606061"/>
                <a:gd name="connsiteX2" fmla="*/ 40533 w 572723"/>
                <a:gd name="connsiteY2" fmla="*/ 140797 h 606061"/>
                <a:gd name="connsiteX3" fmla="*/ 6433 w 572723"/>
                <a:gd name="connsiteY3" fmla="*/ 221015 h 606061"/>
                <a:gd name="connsiteX4" fmla="*/ 8439 w 572723"/>
                <a:gd name="connsiteY4" fmla="*/ 298225 h 606061"/>
                <a:gd name="connsiteX5" fmla="*/ 415 w 572723"/>
                <a:gd name="connsiteY5" fmla="*/ 329309 h 606061"/>
                <a:gd name="connsiteX6" fmla="*/ 1418 w 572723"/>
                <a:gd name="connsiteY6" fmla="*/ 357386 h 606061"/>
                <a:gd name="connsiteX7" fmla="*/ 10445 w 572723"/>
                <a:gd name="connsiteY7" fmla="*/ 390476 h 606061"/>
                <a:gd name="connsiteX8" fmla="*/ 4427 w 572723"/>
                <a:gd name="connsiteY8" fmla="*/ 367413 h 606061"/>
                <a:gd name="connsiteX9" fmla="*/ 10445 w 572723"/>
                <a:gd name="connsiteY9" fmla="*/ 390476 h 606061"/>
                <a:gd name="connsiteX10" fmla="*/ 29501 w 572723"/>
                <a:gd name="connsiteY10" fmla="*/ 443620 h 606061"/>
                <a:gd name="connsiteX11" fmla="*/ 60592 w 572723"/>
                <a:gd name="connsiteY11" fmla="*/ 494759 h 606061"/>
                <a:gd name="connsiteX12" fmla="*/ 156874 w 572723"/>
                <a:gd name="connsiteY12" fmla="*/ 567958 h 606061"/>
                <a:gd name="connsiteX13" fmla="*/ 257167 w 572723"/>
                <a:gd name="connsiteY13" fmla="*/ 599043 h 606061"/>
                <a:gd name="connsiteX14" fmla="*/ 317344 w 572723"/>
                <a:gd name="connsiteY14" fmla="*/ 606062 h 606061"/>
                <a:gd name="connsiteX15" fmla="*/ 364481 w 572723"/>
                <a:gd name="connsiteY15" fmla="*/ 605059 h 606061"/>
                <a:gd name="connsiteX16" fmla="*/ 385543 w 572723"/>
                <a:gd name="connsiteY16" fmla="*/ 602051 h 606061"/>
                <a:gd name="connsiteX17" fmla="*/ 362476 w 572723"/>
                <a:gd name="connsiteY17" fmla="*/ 604056 h 606061"/>
                <a:gd name="connsiteX18" fmla="*/ 438699 w 572723"/>
                <a:gd name="connsiteY18" fmla="*/ 576983 h 606061"/>
                <a:gd name="connsiteX19" fmla="*/ 422652 w 572723"/>
                <a:gd name="connsiteY19" fmla="*/ 578988 h 606061"/>
                <a:gd name="connsiteX20" fmla="*/ 434687 w 572723"/>
                <a:gd name="connsiteY20" fmla="*/ 574977 h 606061"/>
                <a:gd name="connsiteX21" fmla="*/ 476810 w 572723"/>
                <a:gd name="connsiteY21" fmla="*/ 544896 h 606061"/>
                <a:gd name="connsiteX22" fmla="*/ 490852 w 572723"/>
                <a:gd name="connsiteY22" fmla="*/ 535871 h 606061"/>
                <a:gd name="connsiteX23" fmla="*/ 487843 w 572723"/>
                <a:gd name="connsiteY23" fmla="*/ 536874 h 606061"/>
                <a:gd name="connsiteX24" fmla="*/ 521943 w 572723"/>
                <a:gd name="connsiteY24" fmla="*/ 496765 h 606061"/>
                <a:gd name="connsiteX25" fmla="*/ 543004 w 572723"/>
                <a:gd name="connsiteY25" fmla="*/ 452645 h 606061"/>
                <a:gd name="connsiteX26" fmla="*/ 547016 w 572723"/>
                <a:gd name="connsiteY26" fmla="*/ 444623 h 606061"/>
                <a:gd name="connsiteX27" fmla="*/ 553034 w 572723"/>
                <a:gd name="connsiteY27" fmla="*/ 417549 h 606061"/>
                <a:gd name="connsiteX28" fmla="*/ 559051 w 572723"/>
                <a:gd name="connsiteY28" fmla="*/ 409528 h 606061"/>
                <a:gd name="connsiteX29" fmla="*/ 566072 w 572723"/>
                <a:gd name="connsiteY29" fmla="*/ 350367 h 606061"/>
                <a:gd name="connsiteX30" fmla="*/ 571086 w 572723"/>
                <a:gd name="connsiteY30" fmla="*/ 244078 h 606061"/>
                <a:gd name="connsiteX31" fmla="*/ 528963 w 572723"/>
                <a:gd name="connsiteY31" fmla="*/ 142802 h 606061"/>
                <a:gd name="connsiteX32" fmla="*/ 528963 w 572723"/>
                <a:gd name="connsiteY32" fmla="*/ 144808 h 606061"/>
                <a:gd name="connsiteX33" fmla="*/ 469790 w 572723"/>
                <a:gd name="connsiteY33" fmla="*/ 94672 h 606061"/>
                <a:gd name="connsiteX34" fmla="*/ 437696 w 572723"/>
                <a:gd name="connsiteY34" fmla="*/ 81636 h 606061"/>
                <a:gd name="connsiteX35" fmla="*/ 422652 w 572723"/>
                <a:gd name="connsiteY35" fmla="*/ 78628 h 606061"/>
                <a:gd name="connsiteX36" fmla="*/ 412623 w 572723"/>
                <a:gd name="connsiteY36" fmla="*/ 78628 h 606061"/>
                <a:gd name="connsiteX37" fmla="*/ 397579 w 572723"/>
                <a:gd name="connsiteY37" fmla="*/ 75620 h 606061"/>
                <a:gd name="connsiteX38" fmla="*/ 384540 w 572723"/>
                <a:gd name="connsiteY38" fmla="*/ 74617 h 606061"/>
                <a:gd name="connsiteX39" fmla="*/ 372505 w 572723"/>
                <a:gd name="connsiteY39" fmla="*/ 74617 h 606061"/>
                <a:gd name="connsiteX40" fmla="*/ 357461 w 572723"/>
                <a:gd name="connsiteY40" fmla="*/ 75620 h 606061"/>
                <a:gd name="connsiteX41" fmla="*/ 350440 w 572723"/>
                <a:gd name="connsiteY41" fmla="*/ 78628 h 606061"/>
                <a:gd name="connsiteX42" fmla="*/ 347432 w 572723"/>
                <a:gd name="connsiteY42" fmla="*/ 80633 h 606061"/>
                <a:gd name="connsiteX43" fmla="*/ 374511 w 572723"/>
                <a:gd name="connsiteY43" fmla="*/ 83642 h 606061"/>
                <a:gd name="connsiteX44" fmla="*/ 374511 w 572723"/>
                <a:gd name="connsiteY44" fmla="*/ 82639 h 606061"/>
                <a:gd name="connsiteX45" fmla="*/ 451737 w 572723"/>
                <a:gd name="connsiteY45" fmla="*/ 113723 h 606061"/>
                <a:gd name="connsiteX46" fmla="*/ 507902 w 572723"/>
                <a:gd name="connsiteY46" fmla="*/ 173887 h 606061"/>
                <a:gd name="connsiteX47" fmla="*/ 528963 w 572723"/>
                <a:gd name="connsiteY47" fmla="*/ 226029 h 606061"/>
                <a:gd name="connsiteX48" fmla="*/ 531972 w 572723"/>
                <a:gd name="connsiteY48" fmla="*/ 286192 h 606061"/>
                <a:gd name="connsiteX49" fmla="*/ 524951 w 572723"/>
                <a:gd name="connsiteY49" fmla="*/ 355380 h 606061"/>
                <a:gd name="connsiteX50" fmla="*/ 513919 w 572723"/>
                <a:gd name="connsiteY50" fmla="*/ 418552 h 606061"/>
                <a:gd name="connsiteX51" fmla="*/ 503890 w 572723"/>
                <a:gd name="connsiteY51" fmla="*/ 439609 h 606061"/>
                <a:gd name="connsiteX52" fmla="*/ 477813 w 572723"/>
                <a:gd name="connsiteY52" fmla="*/ 487740 h 606061"/>
                <a:gd name="connsiteX53" fmla="*/ 434687 w 572723"/>
                <a:gd name="connsiteY53" fmla="*/ 525844 h 606061"/>
                <a:gd name="connsiteX54" fmla="*/ 436693 w 572723"/>
                <a:gd name="connsiteY54" fmla="*/ 524841 h 606061"/>
                <a:gd name="connsiteX55" fmla="*/ 385543 w 572723"/>
                <a:gd name="connsiteY55" fmla="*/ 543893 h 606061"/>
                <a:gd name="connsiteX56" fmla="*/ 381531 w 572723"/>
                <a:gd name="connsiteY56" fmla="*/ 545898 h 606061"/>
                <a:gd name="connsiteX57" fmla="*/ 361473 w 572723"/>
                <a:gd name="connsiteY57" fmla="*/ 548906 h 606061"/>
                <a:gd name="connsiteX58" fmla="*/ 320352 w 572723"/>
                <a:gd name="connsiteY58" fmla="*/ 554923 h 606061"/>
                <a:gd name="connsiteX59" fmla="*/ 254158 w 572723"/>
                <a:gd name="connsiteY59" fmla="*/ 551915 h 606061"/>
                <a:gd name="connsiteX60" fmla="*/ 247138 w 572723"/>
                <a:gd name="connsiteY60" fmla="*/ 550912 h 606061"/>
                <a:gd name="connsiteX61" fmla="*/ 184956 w 572723"/>
                <a:gd name="connsiteY61" fmla="*/ 527849 h 606061"/>
                <a:gd name="connsiteX62" fmla="*/ 133806 w 572723"/>
                <a:gd name="connsiteY62" fmla="*/ 498770 h 606061"/>
                <a:gd name="connsiteX63" fmla="*/ 112744 w 572723"/>
                <a:gd name="connsiteY63" fmla="*/ 488743 h 606061"/>
                <a:gd name="connsiteX64" fmla="*/ 100709 w 572723"/>
                <a:gd name="connsiteY64" fmla="*/ 478716 h 606061"/>
                <a:gd name="connsiteX65" fmla="*/ 87671 w 572723"/>
                <a:gd name="connsiteY65" fmla="*/ 462672 h 606061"/>
                <a:gd name="connsiteX66" fmla="*/ 64603 w 572723"/>
                <a:gd name="connsiteY66" fmla="*/ 423566 h 606061"/>
                <a:gd name="connsiteX67" fmla="*/ 56580 w 572723"/>
                <a:gd name="connsiteY67" fmla="*/ 405517 h 606061"/>
                <a:gd name="connsiteX68" fmla="*/ 55577 w 572723"/>
                <a:gd name="connsiteY68" fmla="*/ 393484 h 606061"/>
                <a:gd name="connsiteX69" fmla="*/ 51565 w 572723"/>
                <a:gd name="connsiteY69" fmla="*/ 367413 h 606061"/>
                <a:gd name="connsiteX70" fmla="*/ 47553 w 572723"/>
                <a:gd name="connsiteY70" fmla="*/ 345353 h 606061"/>
                <a:gd name="connsiteX71" fmla="*/ 43542 w 572723"/>
                <a:gd name="connsiteY71" fmla="*/ 323293 h 606061"/>
                <a:gd name="connsiteX72" fmla="*/ 43542 w 572723"/>
                <a:gd name="connsiteY72" fmla="*/ 326301 h 606061"/>
                <a:gd name="connsiteX73" fmla="*/ 48556 w 572723"/>
                <a:gd name="connsiteY73" fmla="*/ 278170 h 606061"/>
                <a:gd name="connsiteX74" fmla="*/ 61595 w 572723"/>
                <a:gd name="connsiteY74" fmla="*/ 203969 h 606061"/>
                <a:gd name="connsiteX75" fmla="*/ 89677 w 572723"/>
                <a:gd name="connsiteY75" fmla="*/ 137789 h 606061"/>
                <a:gd name="connsiteX76" fmla="*/ 82656 w 572723"/>
                <a:gd name="connsiteY76" fmla="*/ 145811 h 606061"/>
                <a:gd name="connsiteX77" fmla="*/ 132803 w 572723"/>
                <a:gd name="connsiteY77" fmla="*/ 85647 h 606061"/>
                <a:gd name="connsiteX78" fmla="*/ 143835 w 572723"/>
                <a:gd name="connsiteY78" fmla="*/ 79631 h 606061"/>
                <a:gd name="connsiteX79" fmla="*/ 151859 w 572723"/>
                <a:gd name="connsiteY79" fmla="*/ 72612 h 606061"/>
                <a:gd name="connsiteX80" fmla="*/ 153865 w 572723"/>
                <a:gd name="connsiteY80" fmla="*/ 73614 h 606061"/>
                <a:gd name="connsiteX81" fmla="*/ 171918 w 572723"/>
                <a:gd name="connsiteY81" fmla="*/ 62584 h 606061"/>
                <a:gd name="connsiteX82" fmla="*/ 176932 w 572723"/>
                <a:gd name="connsiteY82" fmla="*/ 58573 h 606061"/>
                <a:gd name="connsiteX83" fmla="*/ 184956 w 572723"/>
                <a:gd name="connsiteY83" fmla="*/ 56568 h 606061"/>
                <a:gd name="connsiteX84" fmla="*/ 184956 w 572723"/>
                <a:gd name="connsiteY84" fmla="*/ 56568 h 606061"/>
                <a:gd name="connsiteX85" fmla="*/ 189970 w 572723"/>
                <a:gd name="connsiteY85" fmla="*/ 54563 h 606061"/>
                <a:gd name="connsiteX86" fmla="*/ 206018 w 572723"/>
                <a:gd name="connsiteY86" fmla="*/ 43533 h 606061"/>
                <a:gd name="connsiteX87" fmla="*/ 223067 w 572723"/>
                <a:gd name="connsiteY87" fmla="*/ 33505 h 606061"/>
                <a:gd name="connsiteX88" fmla="*/ 225073 w 572723"/>
                <a:gd name="connsiteY88" fmla="*/ 33505 h 606061"/>
                <a:gd name="connsiteX89" fmla="*/ 228082 w 572723"/>
                <a:gd name="connsiteY89" fmla="*/ 30497 h 606061"/>
                <a:gd name="connsiteX90" fmla="*/ 234100 w 572723"/>
                <a:gd name="connsiteY90" fmla="*/ 29494 h 606061"/>
                <a:gd name="connsiteX91" fmla="*/ 233097 w 572723"/>
                <a:gd name="connsiteY91" fmla="*/ 29494 h 606061"/>
                <a:gd name="connsiteX92" fmla="*/ 239114 w 572723"/>
                <a:gd name="connsiteY92" fmla="*/ 28492 h 606061"/>
                <a:gd name="connsiteX93" fmla="*/ 240117 w 572723"/>
                <a:gd name="connsiteY93" fmla="*/ 30497 h 606061"/>
                <a:gd name="connsiteX94" fmla="*/ 250147 w 572723"/>
                <a:gd name="connsiteY94" fmla="*/ 28492 h 606061"/>
                <a:gd name="connsiteX95" fmla="*/ 219056 w 572723"/>
                <a:gd name="connsiteY95" fmla="*/ 29494 h 606061"/>
                <a:gd name="connsiteX96" fmla="*/ 234100 w 572723"/>
                <a:gd name="connsiteY96" fmla="*/ 25483 h 606061"/>
                <a:gd name="connsiteX97" fmla="*/ 245132 w 572723"/>
                <a:gd name="connsiteY97" fmla="*/ 25483 h 606061"/>
                <a:gd name="connsiteX98" fmla="*/ 258170 w 572723"/>
                <a:gd name="connsiteY98" fmla="*/ 25483 h 606061"/>
                <a:gd name="connsiteX99" fmla="*/ 265191 w 572723"/>
                <a:gd name="connsiteY99" fmla="*/ 23478 h 606061"/>
                <a:gd name="connsiteX100" fmla="*/ 273214 w 572723"/>
                <a:gd name="connsiteY100" fmla="*/ 24481 h 606061"/>
                <a:gd name="connsiteX101" fmla="*/ 261179 w 572723"/>
                <a:gd name="connsiteY101" fmla="*/ 25483 h 606061"/>
                <a:gd name="connsiteX102" fmla="*/ 266194 w 572723"/>
                <a:gd name="connsiteY102" fmla="*/ 26486 h 606061"/>
                <a:gd name="connsiteX103" fmla="*/ 273214 w 572723"/>
                <a:gd name="connsiteY103" fmla="*/ 26486 h 606061"/>
                <a:gd name="connsiteX104" fmla="*/ 287255 w 572723"/>
                <a:gd name="connsiteY104" fmla="*/ 26486 h 606061"/>
                <a:gd name="connsiteX105" fmla="*/ 293273 w 572723"/>
                <a:gd name="connsiteY105" fmla="*/ 29494 h 606061"/>
                <a:gd name="connsiteX106" fmla="*/ 297285 w 572723"/>
                <a:gd name="connsiteY106" fmla="*/ 28492 h 606061"/>
                <a:gd name="connsiteX107" fmla="*/ 289261 w 572723"/>
                <a:gd name="connsiteY107" fmla="*/ 23478 h 606061"/>
                <a:gd name="connsiteX108" fmla="*/ 300294 w 572723"/>
                <a:gd name="connsiteY108" fmla="*/ 25483 h 606061"/>
                <a:gd name="connsiteX109" fmla="*/ 300294 w 572723"/>
                <a:gd name="connsiteY109" fmla="*/ 23478 h 606061"/>
                <a:gd name="connsiteX110" fmla="*/ 310323 w 572723"/>
                <a:gd name="connsiteY110" fmla="*/ 25483 h 606061"/>
                <a:gd name="connsiteX111" fmla="*/ 307314 w 572723"/>
                <a:gd name="connsiteY111" fmla="*/ 24481 h 606061"/>
                <a:gd name="connsiteX112" fmla="*/ 296282 w 572723"/>
                <a:gd name="connsiteY112" fmla="*/ 26486 h 606061"/>
                <a:gd name="connsiteX113" fmla="*/ 286252 w 572723"/>
                <a:gd name="connsiteY113" fmla="*/ 28492 h 606061"/>
                <a:gd name="connsiteX114" fmla="*/ 299291 w 572723"/>
                <a:gd name="connsiteY114" fmla="*/ 25483 h 606061"/>
                <a:gd name="connsiteX115" fmla="*/ 311326 w 572723"/>
                <a:gd name="connsiteY115" fmla="*/ 24481 h 606061"/>
                <a:gd name="connsiteX116" fmla="*/ 311326 w 572723"/>
                <a:gd name="connsiteY116" fmla="*/ 21473 h 606061"/>
                <a:gd name="connsiteX117" fmla="*/ 307314 w 572723"/>
                <a:gd name="connsiteY117" fmla="*/ 22475 h 606061"/>
                <a:gd name="connsiteX118" fmla="*/ 303302 w 572723"/>
                <a:gd name="connsiteY118" fmla="*/ 18464 h 606061"/>
                <a:gd name="connsiteX119" fmla="*/ 296282 w 572723"/>
                <a:gd name="connsiteY119" fmla="*/ 21473 h 606061"/>
                <a:gd name="connsiteX120" fmla="*/ 288258 w 572723"/>
                <a:gd name="connsiteY120" fmla="*/ 23478 h 606061"/>
                <a:gd name="connsiteX121" fmla="*/ 290264 w 572723"/>
                <a:gd name="connsiteY121" fmla="*/ 24481 h 606061"/>
                <a:gd name="connsiteX122" fmla="*/ 302300 w 572723"/>
                <a:gd name="connsiteY122" fmla="*/ 25483 h 606061"/>
                <a:gd name="connsiteX123" fmla="*/ 309320 w 572723"/>
                <a:gd name="connsiteY123" fmla="*/ 24481 h 606061"/>
                <a:gd name="connsiteX124" fmla="*/ 310323 w 572723"/>
                <a:gd name="connsiteY124" fmla="*/ 24481 h 606061"/>
                <a:gd name="connsiteX125" fmla="*/ 316341 w 572723"/>
                <a:gd name="connsiteY125" fmla="*/ 23478 h 606061"/>
                <a:gd name="connsiteX126" fmla="*/ 314335 w 572723"/>
                <a:gd name="connsiteY126" fmla="*/ 16459 h 606061"/>
                <a:gd name="connsiteX127" fmla="*/ 313332 w 572723"/>
                <a:gd name="connsiteY127" fmla="*/ 9440 h 606061"/>
                <a:gd name="connsiteX128" fmla="*/ 302300 w 572723"/>
                <a:gd name="connsiteY128" fmla="*/ 10443 h 606061"/>
                <a:gd name="connsiteX129" fmla="*/ 292270 w 572723"/>
                <a:gd name="connsiteY129" fmla="*/ 6432 h 606061"/>
                <a:gd name="connsiteX130" fmla="*/ 288258 w 572723"/>
                <a:gd name="connsiteY130" fmla="*/ 7434 h 606061"/>
                <a:gd name="connsiteX131" fmla="*/ 281238 w 572723"/>
                <a:gd name="connsiteY131" fmla="*/ 4426 h 606061"/>
                <a:gd name="connsiteX132" fmla="*/ 270205 w 572723"/>
                <a:gd name="connsiteY132" fmla="*/ 4426 h 606061"/>
                <a:gd name="connsiteX133" fmla="*/ 267197 w 572723"/>
                <a:gd name="connsiteY133" fmla="*/ 6432 h 606061"/>
                <a:gd name="connsiteX134" fmla="*/ 247138 w 572723"/>
                <a:gd name="connsiteY134" fmla="*/ 7434 h 606061"/>
                <a:gd name="connsiteX135" fmla="*/ 243126 w 572723"/>
                <a:gd name="connsiteY135" fmla="*/ 2421 h 606061"/>
                <a:gd name="connsiteX136" fmla="*/ 250147 w 572723"/>
                <a:gd name="connsiteY136" fmla="*/ 4426 h 606061"/>
                <a:gd name="connsiteX137" fmla="*/ 260176 w 572723"/>
                <a:gd name="connsiteY137" fmla="*/ 415 h 606061"/>
                <a:gd name="connsiteX138" fmla="*/ 245132 w 572723"/>
                <a:gd name="connsiteY138" fmla="*/ 1418 h 606061"/>
                <a:gd name="connsiteX139" fmla="*/ 246135 w 572723"/>
                <a:gd name="connsiteY139" fmla="*/ 1418 h 606061"/>
                <a:gd name="connsiteX140" fmla="*/ 226076 w 572723"/>
                <a:gd name="connsiteY140" fmla="*/ 4426 h 606061"/>
                <a:gd name="connsiteX141" fmla="*/ 228082 w 572723"/>
                <a:gd name="connsiteY141" fmla="*/ 1418 h 606061"/>
                <a:gd name="connsiteX142" fmla="*/ 220059 w 572723"/>
                <a:gd name="connsiteY142" fmla="*/ 4426 h 606061"/>
                <a:gd name="connsiteX143" fmla="*/ 220059 w 572723"/>
                <a:gd name="connsiteY143" fmla="*/ 5429 h 606061"/>
                <a:gd name="connsiteX144" fmla="*/ 211032 w 572723"/>
                <a:gd name="connsiteY144" fmla="*/ 7434 h 606061"/>
                <a:gd name="connsiteX145" fmla="*/ 194985 w 572723"/>
                <a:gd name="connsiteY145" fmla="*/ 15456 h 606061"/>
                <a:gd name="connsiteX146" fmla="*/ 180944 w 572723"/>
                <a:gd name="connsiteY146" fmla="*/ 24481 h 606061"/>
                <a:gd name="connsiteX147" fmla="*/ 170915 w 572723"/>
                <a:gd name="connsiteY147" fmla="*/ 28492 h 606061"/>
                <a:gd name="connsiteX148" fmla="*/ 176932 w 572723"/>
                <a:gd name="connsiteY148" fmla="*/ 25483 h 606061"/>
                <a:gd name="connsiteX149" fmla="*/ 189970 w 572723"/>
                <a:gd name="connsiteY149" fmla="*/ 17462 h 606061"/>
                <a:gd name="connsiteX150" fmla="*/ 203009 w 572723"/>
                <a:gd name="connsiteY150" fmla="*/ 10443 h 606061"/>
                <a:gd name="connsiteX151" fmla="*/ 206018 w 572723"/>
                <a:gd name="connsiteY151" fmla="*/ 8437 h 606061"/>
                <a:gd name="connsiteX152" fmla="*/ 195988 w 572723"/>
                <a:gd name="connsiteY152" fmla="*/ 12448 h 606061"/>
                <a:gd name="connsiteX153" fmla="*/ 178938 w 572723"/>
                <a:gd name="connsiteY153" fmla="*/ 21473 h 606061"/>
                <a:gd name="connsiteX154" fmla="*/ 162891 w 572723"/>
                <a:gd name="connsiteY154" fmla="*/ 31500 h 606061"/>
                <a:gd name="connsiteX155" fmla="*/ 154868 w 572723"/>
                <a:gd name="connsiteY155" fmla="*/ 36513 h 606061"/>
                <a:gd name="connsiteX156" fmla="*/ 149853 w 572723"/>
                <a:gd name="connsiteY156" fmla="*/ 41527 h 606061"/>
                <a:gd name="connsiteX157" fmla="*/ 145841 w 572723"/>
                <a:gd name="connsiteY157" fmla="*/ 40524 h 606061"/>
                <a:gd name="connsiteX158" fmla="*/ 144838 w 572723"/>
                <a:gd name="connsiteY158" fmla="*/ 41527 h 606061"/>
                <a:gd name="connsiteX159" fmla="*/ 140827 w 572723"/>
                <a:gd name="connsiteY159" fmla="*/ 42530 h 606061"/>
                <a:gd name="connsiteX160" fmla="*/ 127788 w 572723"/>
                <a:gd name="connsiteY160" fmla="*/ 52557 h 606061"/>
                <a:gd name="connsiteX161" fmla="*/ 115753 w 572723"/>
                <a:gd name="connsiteY161" fmla="*/ 64590 h 606061"/>
                <a:gd name="connsiteX162" fmla="*/ 121771 w 572723"/>
                <a:gd name="connsiteY162" fmla="*/ 52557 h 606061"/>
                <a:gd name="connsiteX163" fmla="*/ 122774 w 572723"/>
                <a:gd name="connsiteY163" fmla="*/ 52557 h 606061"/>
                <a:gd name="connsiteX164" fmla="*/ 125783 w 572723"/>
                <a:gd name="connsiteY164" fmla="*/ 47543 h 606061"/>
                <a:gd name="connsiteX165" fmla="*/ 112744 w 572723"/>
                <a:gd name="connsiteY165" fmla="*/ 59576 h 606061"/>
                <a:gd name="connsiteX166" fmla="*/ 109736 w 572723"/>
                <a:gd name="connsiteY166" fmla="*/ 61582 h 606061"/>
                <a:gd name="connsiteX167" fmla="*/ 109736 w 572723"/>
                <a:gd name="connsiteY167" fmla="*/ 61582 h 606061"/>
                <a:gd name="connsiteX168" fmla="*/ 107730 w 572723"/>
                <a:gd name="connsiteY168" fmla="*/ 61582 h 606061"/>
                <a:gd name="connsiteX169" fmla="*/ 107730 w 572723"/>
                <a:gd name="connsiteY169" fmla="*/ 60579 h 606061"/>
                <a:gd name="connsiteX170" fmla="*/ 96697 w 572723"/>
                <a:gd name="connsiteY170" fmla="*/ 70606 h 606061"/>
                <a:gd name="connsiteX171" fmla="*/ 83659 w 572723"/>
                <a:gd name="connsiteY171" fmla="*/ 86650 h 606061"/>
                <a:gd name="connsiteX172" fmla="*/ 81653 w 572723"/>
                <a:gd name="connsiteY172" fmla="*/ 90661 h 606061"/>
                <a:gd name="connsiteX173" fmla="*/ 61595 w 572723"/>
                <a:gd name="connsiteY173" fmla="*/ 114726 h 606061"/>
                <a:gd name="connsiteX174" fmla="*/ 64603 w 572723"/>
                <a:gd name="connsiteY174" fmla="*/ 115729 h 606061"/>
                <a:gd name="connsiteX175" fmla="*/ 59589 w 572723"/>
                <a:gd name="connsiteY175" fmla="*/ 123751 h 606061"/>
                <a:gd name="connsiteX176" fmla="*/ 54574 w 572723"/>
                <a:gd name="connsiteY176" fmla="*/ 125756 h 606061"/>
                <a:gd name="connsiteX177" fmla="*/ 49559 w 572723"/>
                <a:gd name="connsiteY177" fmla="*/ 126759 h 606061"/>
                <a:gd name="connsiteX178" fmla="*/ 43542 w 572723"/>
                <a:gd name="connsiteY178" fmla="*/ 138792 h 606061"/>
                <a:gd name="connsiteX179" fmla="*/ 42539 w 572723"/>
                <a:gd name="connsiteY179" fmla="*/ 146813 h 606061"/>
                <a:gd name="connsiteX180" fmla="*/ 34515 w 572723"/>
                <a:gd name="connsiteY180" fmla="*/ 158846 h 606061"/>
                <a:gd name="connsiteX181" fmla="*/ 32509 w 572723"/>
                <a:gd name="connsiteY181" fmla="*/ 156841 h 606061"/>
                <a:gd name="connsiteX182" fmla="*/ 22480 w 572723"/>
                <a:gd name="connsiteY182" fmla="*/ 175892 h 606061"/>
                <a:gd name="connsiteX183" fmla="*/ 19471 w 572723"/>
                <a:gd name="connsiteY183" fmla="*/ 196950 h 606061"/>
                <a:gd name="connsiteX184" fmla="*/ 17465 w 572723"/>
                <a:gd name="connsiteY184" fmla="*/ 204971 h 606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</a:cxnLst>
              <a:rect l="l" t="t" r="r" b="b"/>
              <a:pathLst>
                <a:path w="572723" h="606061">
                  <a:moveTo>
                    <a:pt x="17465" y="204971"/>
                  </a:moveTo>
                  <a:lnTo>
                    <a:pt x="15460" y="211990"/>
                  </a:lnTo>
                  <a:cubicBezTo>
                    <a:pt x="20474" y="187925"/>
                    <a:pt x="29501" y="163860"/>
                    <a:pt x="40533" y="140797"/>
                  </a:cubicBezTo>
                  <a:cubicBezTo>
                    <a:pt x="25489" y="163860"/>
                    <a:pt x="12451" y="192939"/>
                    <a:pt x="6433" y="221015"/>
                  </a:cubicBezTo>
                  <a:cubicBezTo>
                    <a:pt x="415" y="249091"/>
                    <a:pt x="1418" y="277168"/>
                    <a:pt x="8439" y="298225"/>
                  </a:cubicBezTo>
                  <a:cubicBezTo>
                    <a:pt x="4427" y="300230"/>
                    <a:pt x="1418" y="315271"/>
                    <a:pt x="415" y="329309"/>
                  </a:cubicBezTo>
                  <a:cubicBezTo>
                    <a:pt x="-588" y="343348"/>
                    <a:pt x="415" y="357386"/>
                    <a:pt x="1418" y="357386"/>
                  </a:cubicBezTo>
                  <a:cubicBezTo>
                    <a:pt x="4427" y="368416"/>
                    <a:pt x="7436" y="379446"/>
                    <a:pt x="10445" y="390476"/>
                  </a:cubicBezTo>
                  <a:cubicBezTo>
                    <a:pt x="8439" y="382454"/>
                    <a:pt x="6433" y="375435"/>
                    <a:pt x="4427" y="367413"/>
                  </a:cubicBezTo>
                  <a:cubicBezTo>
                    <a:pt x="6433" y="374432"/>
                    <a:pt x="8439" y="382454"/>
                    <a:pt x="10445" y="390476"/>
                  </a:cubicBezTo>
                  <a:cubicBezTo>
                    <a:pt x="15460" y="407522"/>
                    <a:pt x="21477" y="425571"/>
                    <a:pt x="29501" y="443620"/>
                  </a:cubicBezTo>
                  <a:cubicBezTo>
                    <a:pt x="37524" y="461669"/>
                    <a:pt x="47553" y="478716"/>
                    <a:pt x="60592" y="494759"/>
                  </a:cubicBezTo>
                  <a:cubicBezTo>
                    <a:pt x="86668" y="525844"/>
                    <a:pt x="120768" y="549909"/>
                    <a:pt x="156874" y="567958"/>
                  </a:cubicBezTo>
                  <a:cubicBezTo>
                    <a:pt x="176932" y="577985"/>
                    <a:pt x="216047" y="592024"/>
                    <a:pt x="257167" y="599043"/>
                  </a:cubicBezTo>
                  <a:cubicBezTo>
                    <a:pt x="278229" y="603054"/>
                    <a:pt x="299291" y="605059"/>
                    <a:pt x="317344" y="606062"/>
                  </a:cubicBezTo>
                  <a:cubicBezTo>
                    <a:pt x="336399" y="606062"/>
                    <a:pt x="353449" y="606062"/>
                    <a:pt x="364481" y="605059"/>
                  </a:cubicBezTo>
                  <a:cubicBezTo>
                    <a:pt x="371502" y="604056"/>
                    <a:pt x="378522" y="604056"/>
                    <a:pt x="385543" y="602051"/>
                  </a:cubicBezTo>
                  <a:cubicBezTo>
                    <a:pt x="373508" y="604056"/>
                    <a:pt x="373508" y="603054"/>
                    <a:pt x="362476" y="604056"/>
                  </a:cubicBezTo>
                  <a:cubicBezTo>
                    <a:pt x="390558" y="598040"/>
                    <a:pt x="415631" y="589015"/>
                    <a:pt x="438699" y="576983"/>
                  </a:cubicBezTo>
                  <a:cubicBezTo>
                    <a:pt x="433684" y="577985"/>
                    <a:pt x="432681" y="576983"/>
                    <a:pt x="422652" y="578988"/>
                  </a:cubicBezTo>
                  <a:cubicBezTo>
                    <a:pt x="426664" y="577985"/>
                    <a:pt x="430675" y="576983"/>
                    <a:pt x="434687" y="574977"/>
                  </a:cubicBezTo>
                  <a:cubicBezTo>
                    <a:pt x="444716" y="567958"/>
                    <a:pt x="467784" y="553920"/>
                    <a:pt x="476810" y="544896"/>
                  </a:cubicBezTo>
                  <a:cubicBezTo>
                    <a:pt x="475807" y="547904"/>
                    <a:pt x="483831" y="541887"/>
                    <a:pt x="490852" y="535871"/>
                  </a:cubicBezTo>
                  <a:lnTo>
                    <a:pt x="487843" y="536874"/>
                  </a:lnTo>
                  <a:cubicBezTo>
                    <a:pt x="500881" y="525844"/>
                    <a:pt x="512916" y="511806"/>
                    <a:pt x="521943" y="496765"/>
                  </a:cubicBezTo>
                  <a:cubicBezTo>
                    <a:pt x="530969" y="481724"/>
                    <a:pt x="537990" y="465680"/>
                    <a:pt x="543004" y="452645"/>
                  </a:cubicBezTo>
                  <a:cubicBezTo>
                    <a:pt x="544007" y="448634"/>
                    <a:pt x="546013" y="446628"/>
                    <a:pt x="547016" y="444623"/>
                  </a:cubicBezTo>
                  <a:cubicBezTo>
                    <a:pt x="549022" y="435598"/>
                    <a:pt x="552031" y="426574"/>
                    <a:pt x="553034" y="417549"/>
                  </a:cubicBezTo>
                  <a:cubicBezTo>
                    <a:pt x="555039" y="420557"/>
                    <a:pt x="560054" y="395489"/>
                    <a:pt x="559051" y="409528"/>
                  </a:cubicBezTo>
                  <a:cubicBezTo>
                    <a:pt x="561057" y="388470"/>
                    <a:pt x="566072" y="369418"/>
                    <a:pt x="566072" y="350367"/>
                  </a:cubicBezTo>
                  <a:cubicBezTo>
                    <a:pt x="571086" y="317277"/>
                    <a:pt x="575098" y="281179"/>
                    <a:pt x="571086" y="244078"/>
                  </a:cubicBezTo>
                  <a:cubicBezTo>
                    <a:pt x="567075" y="206977"/>
                    <a:pt x="552031" y="169876"/>
                    <a:pt x="528963" y="142802"/>
                  </a:cubicBezTo>
                  <a:lnTo>
                    <a:pt x="528963" y="144808"/>
                  </a:lnTo>
                  <a:cubicBezTo>
                    <a:pt x="512916" y="125756"/>
                    <a:pt x="493860" y="112721"/>
                    <a:pt x="469790" y="94672"/>
                  </a:cubicBezTo>
                  <a:cubicBezTo>
                    <a:pt x="459760" y="89658"/>
                    <a:pt x="447725" y="84644"/>
                    <a:pt x="437696" y="81636"/>
                  </a:cubicBezTo>
                  <a:cubicBezTo>
                    <a:pt x="432681" y="79631"/>
                    <a:pt x="427667" y="78628"/>
                    <a:pt x="422652" y="78628"/>
                  </a:cubicBezTo>
                  <a:cubicBezTo>
                    <a:pt x="418640" y="78628"/>
                    <a:pt x="414628" y="77625"/>
                    <a:pt x="412623" y="78628"/>
                  </a:cubicBezTo>
                  <a:cubicBezTo>
                    <a:pt x="406605" y="77625"/>
                    <a:pt x="401590" y="76623"/>
                    <a:pt x="397579" y="75620"/>
                  </a:cubicBezTo>
                  <a:cubicBezTo>
                    <a:pt x="392564" y="75620"/>
                    <a:pt x="388552" y="74617"/>
                    <a:pt x="384540" y="74617"/>
                  </a:cubicBezTo>
                  <a:cubicBezTo>
                    <a:pt x="380528" y="74617"/>
                    <a:pt x="376517" y="74617"/>
                    <a:pt x="372505" y="74617"/>
                  </a:cubicBezTo>
                  <a:cubicBezTo>
                    <a:pt x="368493" y="74617"/>
                    <a:pt x="363478" y="74617"/>
                    <a:pt x="357461" y="75620"/>
                  </a:cubicBezTo>
                  <a:cubicBezTo>
                    <a:pt x="360470" y="76623"/>
                    <a:pt x="355455" y="77625"/>
                    <a:pt x="350440" y="78628"/>
                  </a:cubicBezTo>
                  <a:cubicBezTo>
                    <a:pt x="346429" y="79631"/>
                    <a:pt x="341414" y="80633"/>
                    <a:pt x="347432" y="80633"/>
                  </a:cubicBezTo>
                  <a:cubicBezTo>
                    <a:pt x="361473" y="83642"/>
                    <a:pt x="362476" y="80633"/>
                    <a:pt x="374511" y="83642"/>
                  </a:cubicBezTo>
                  <a:lnTo>
                    <a:pt x="374511" y="82639"/>
                  </a:lnTo>
                  <a:cubicBezTo>
                    <a:pt x="402593" y="86650"/>
                    <a:pt x="428669" y="97680"/>
                    <a:pt x="451737" y="113723"/>
                  </a:cubicBezTo>
                  <a:cubicBezTo>
                    <a:pt x="474804" y="129767"/>
                    <a:pt x="494863" y="149822"/>
                    <a:pt x="507902" y="173887"/>
                  </a:cubicBezTo>
                  <a:cubicBezTo>
                    <a:pt x="518934" y="188928"/>
                    <a:pt x="525954" y="206977"/>
                    <a:pt x="528963" y="226029"/>
                  </a:cubicBezTo>
                  <a:cubicBezTo>
                    <a:pt x="532975" y="245080"/>
                    <a:pt x="532975" y="266138"/>
                    <a:pt x="531972" y="286192"/>
                  </a:cubicBezTo>
                  <a:cubicBezTo>
                    <a:pt x="530969" y="308252"/>
                    <a:pt x="527960" y="332318"/>
                    <a:pt x="524951" y="355380"/>
                  </a:cubicBezTo>
                  <a:cubicBezTo>
                    <a:pt x="521943" y="378443"/>
                    <a:pt x="518934" y="400503"/>
                    <a:pt x="513919" y="418552"/>
                  </a:cubicBezTo>
                  <a:cubicBezTo>
                    <a:pt x="511913" y="427577"/>
                    <a:pt x="507902" y="432590"/>
                    <a:pt x="503890" y="439609"/>
                  </a:cubicBezTo>
                  <a:cubicBezTo>
                    <a:pt x="497872" y="455653"/>
                    <a:pt x="489849" y="472699"/>
                    <a:pt x="477813" y="487740"/>
                  </a:cubicBezTo>
                  <a:cubicBezTo>
                    <a:pt x="465778" y="502781"/>
                    <a:pt x="450734" y="515816"/>
                    <a:pt x="434687" y="525844"/>
                  </a:cubicBezTo>
                  <a:cubicBezTo>
                    <a:pt x="435690" y="525844"/>
                    <a:pt x="435690" y="524841"/>
                    <a:pt x="436693" y="524841"/>
                  </a:cubicBezTo>
                  <a:cubicBezTo>
                    <a:pt x="419643" y="534868"/>
                    <a:pt x="404599" y="538879"/>
                    <a:pt x="385543" y="543893"/>
                  </a:cubicBezTo>
                  <a:cubicBezTo>
                    <a:pt x="385543" y="544896"/>
                    <a:pt x="382534" y="545898"/>
                    <a:pt x="381531" y="545898"/>
                  </a:cubicBezTo>
                  <a:cubicBezTo>
                    <a:pt x="380528" y="544896"/>
                    <a:pt x="372505" y="546901"/>
                    <a:pt x="361473" y="548906"/>
                  </a:cubicBezTo>
                  <a:cubicBezTo>
                    <a:pt x="350440" y="550912"/>
                    <a:pt x="335396" y="552917"/>
                    <a:pt x="320352" y="554923"/>
                  </a:cubicBezTo>
                  <a:cubicBezTo>
                    <a:pt x="289261" y="556928"/>
                    <a:pt x="257167" y="553920"/>
                    <a:pt x="254158" y="551915"/>
                  </a:cubicBezTo>
                  <a:cubicBezTo>
                    <a:pt x="252153" y="551915"/>
                    <a:pt x="250147" y="550912"/>
                    <a:pt x="247138" y="550912"/>
                  </a:cubicBezTo>
                  <a:cubicBezTo>
                    <a:pt x="226076" y="545898"/>
                    <a:pt x="204012" y="537876"/>
                    <a:pt x="184956" y="527849"/>
                  </a:cubicBezTo>
                  <a:cubicBezTo>
                    <a:pt x="165900" y="518825"/>
                    <a:pt x="148850" y="507795"/>
                    <a:pt x="133806" y="498770"/>
                  </a:cubicBezTo>
                  <a:cubicBezTo>
                    <a:pt x="126786" y="495762"/>
                    <a:pt x="118762" y="491751"/>
                    <a:pt x="112744" y="488743"/>
                  </a:cubicBezTo>
                  <a:cubicBezTo>
                    <a:pt x="108733" y="483729"/>
                    <a:pt x="105724" y="484732"/>
                    <a:pt x="100709" y="478716"/>
                  </a:cubicBezTo>
                  <a:cubicBezTo>
                    <a:pt x="91683" y="460667"/>
                    <a:pt x="84662" y="452645"/>
                    <a:pt x="87671" y="462672"/>
                  </a:cubicBezTo>
                  <a:cubicBezTo>
                    <a:pt x="76639" y="450639"/>
                    <a:pt x="69618" y="436601"/>
                    <a:pt x="64603" y="423566"/>
                  </a:cubicBezTo>
                  <a:cubicBezTo>
                    <a:pt x="61595" y="417549"/>
                    <a:pt x="58586" y="411533"/>
                    <a:pt x="56580" y="405517"/>
                  </a:cubicBezTo>
                  <a:cubicBezTo>
                    <a:pt x="54574" y="400503"/>
                    <a:pt x="54574" y="396492"/>
                    <a:pt x="55577" y="393484"/>
                  </a:cubicBezTo>
                  <a:cubicBezTo>
                    <a:pt x="51565" y="379446"/>
                    <a:pt x="53571" y="383457"/>
                    <a:pt x="51565" y="367413"/>
                  </a:cubicBezTo>
                  <a:cubicBezTo>
                    <a:pt x="52568" y="365408"/>
                    <a:pt x="49559" y="355380"/>
                    <a:pt x="47553" y="345353"/>
                  </a:cubicBezTo>
                  <a:cubicBezTo>
                    <a:pt x="45548" y="335326"/>
                    <a:pt x="43542" y="325299"/>
                    <a:pt x="43542" y="323293"/>
                  </a:cubicBezTo>
                  <a:lnTo>
                    <a:pt x="43542" y="326301"/>
                  </a:lnTo>
                  <a:cubicBezTo>
                    <a:pt x="42539" y="307249"/>
                    <a:pt x="47553" y="295217"/>
                    <a:pt x="48556" y="278170"/>
                  </a:cubicBezTo>
                  <a:cubicBezTo>
                    <a:pt x="50562" y="253102"/>
                    <a:pt x="54574" y="228034"/>
                    <a:pt x="61595" y="203969"/>
                  </a:cubicBezTo>
                  <a:cubicBezTo>
                    <a:pt x="67612" y="179903"/>
                    <a:pt x="77641" y="156841"/>
                    <a:pt x="89677" y="137789"/>
                  </a:cubicBezTo>
                  <a:cubicBezTo>
                    <a:pt x="87671" y="135783"/>
                    <a:pt x="85665" y="146813"/>
                    <a:pt x="82656" y="145811"/>
                  </a:cubicBezTo>
                  <a:cubicBezTo>
                    <a:pt x="95694" y="121745"/>
                    <a:pt x="113747" y="102693"/>
                    <a:pt x="132803" y="85647"/>
                  </a:cubicBezTo>
                  <a:cubicBezTo>
                    <a:pt x="136815" y="82639"/>
                    <a:pt x="141830" y="80633"/>
                    <a:pt x="143835" y="79631"/>
                  </a:cubicBezTo>
                  <a:cubicBezTo>
                    <a:pt x="150856" y="74617"/>
                    <a:pt x="146844" y="75620"/>
                    <a:pt x="151859" y="72612"/>
                  </a:cubicBezTo>
                  <a:lnTo>
                    <a:pt x="153865" y="73614"/>
                  </a:lnTo>
                  <a:cubicBezTo>
                    <a:pt x="159882" y="66595"/>
                    <a:pt x="165900" y="68601"/>
                    <a:pt x="171918" y="62584"/>
                  </a:cubicBezTo>
                  <a:cubicBezTo>
                    <a:pt x="171918" y="61582"/>
                    <a:pt x="173923" y="59576"/>
                    <a:pt x="176932" y="58573"/>
                  </a:cubicBezTo>
                  <a:cubicBezTo>
                    <a:pt x="177935" y="60579"/>
                    <a:pt x="184956" y="53560"/>
                    <a:pt x="184956" y="56568"/>
                  </a:cubicBezTo>
                  <a:lnTo>
                    <a:pt x="184956" y="56568"/>
                  </a:lnTo>
                  <a:cubicBezTo>
                    <a:pt x="186962" y="55565"/>
                    <a:pt x="187964" y="55565"/>
                    <a:pt x="189970" y="54563"/>
                  </a:cubicBezTo>
                  <a:cubicBezTo>
                    <a:pt x="190973" y="53560"/>
                    <a:pt x="197994" y="47543"/>
                    <a:pt x="206018" y="43533"/>
                  </a:cubicBezTo>
                  <a:cubicBezTo>
                    <a:pt x="213038" y="38519"/>
                    <a:pt x="221062" y="34508"/>
                    <a:pt x="223067" y="33505"/>
                  </a:cubicBezTo>
                  <a:lnTo>
                    <a:pt x="225073" y="33505"/>
                  </a:lnTo>
                  <a:cubicBezTo>
                    <a:pt x="230088" y="32503"/>
                    <a:pt x="231091" y="30497"/>
                    <a:pt x="228082" y="30497"/>
                  </a:cubicBezTo>
                  <a:lnTo>
                    <a:pt x="234100" y="29494"/>
                  </a:lnTo>
                  <a:lnTo>
                    <a:pt x="233097" y="29494"/>
                  </a:lnTo>
                  <a:lnTo>
                    <a:pt x="239114" y="28492"/>
                  </a:lnTo>
                  <a:cubicBezTo>
                    <a:pt x="240117" y="28492"/>
                    <a:pt x="241120" y="29494"/>
                    <a:pt x="240117" y="30497"/>
                  </a:cubicBezTo>
                  <a:cubicBezTo>
                    <a:pt x="243126" y="29494"/>
                    <a:pt x="247138" y="28492"/>
                    <a:pt x="250147" y="28492"/>
                  </a:cubicBezTo>
                  <a:cubicBezTo>
                    <a:pt x="241120" y="28492"/>
                    <a:pt x="229085" y="28492"/>
                    <a:pt x="219056" y="29494"/>
                  </a:cubicBezTo>
                  <a:cubicBezTo>
                    <a:pt x="223067" y="27489"/>
                    <a:pt x="230088" y="27489"/>
                    <a:pt x="234100" y="25483"/>
                  </a:cubicBezTo>
                  <a:cubicBezTo>
                    <a:pt x="237109" y="25483"/>
                    <a:pt x="241120" y="25483"/>
                    <a:pt x="245132" y="25483"/>
                  </a:cubicBezTo>
                  <a:cubicBezTo>
                    <a:pt x="249144" y="25483"/>
                    <a:pt x="254158" y="25483"/>
                    <a:pt x="258170" y="25483"/>
                  </a:cubicBezTo>
                  <a:cubicBezTo>
                    <a:pt x="260176" y="25483"/>
                    <a:pt x="261179" y="22475"/>
                    <a:pt x="265191" y="23478"/>
                  </a:cubicBezTo>
                  <a:cubicBezTo>
                    <a:pt x="267197" y="25483"/>
                    <a:pt x="270205" y="23478"/>
                    <a:pt x="273214" y="24481"/>
                  </a:cubicBezTo>
                  <a:cubicBezTo>
                    <a:pt x="269202" y="25483"/>
                    <a:pt x="265191" y="25483"/>
                    <a:pt x="261179" y="25483"/>
                  </a:cubicBezTo>
                  <a:cubicBezTo>
                    <a:pt x="261179" y="26486"/>
                    <a:pt x="264188" y="26486"/>
                    <a:pt x="266194" y="26486"/>
                  </a:cubicBezTo>
                  <a:cubicBezTo>
                    <a:pt x="269202" y="26486"/>
                    <a:pt x="272211" y="26486"/>
                    <a:pt x="273214" y="26486"/>
                  </a:cubicBezTo>
                  <a:cubicBezTo>
                    <a:pt x="274217" y="25483"/>
                    <a:pt x="282241" y="26486"/>
                    <a:pt x="287255" y="26486"/>
                  </a:cubicBezTo>
                  <a:cubicBezTo>
                    <a:pt x="285249" y="28492"/>
                    <a:pt x="291267" y="28492"/>
                    <a:pt x="293273" y="29494"/>
                  </a:cubicBezTo>
                  <a:cubicBezTo>
                    <a:pt x="296282" y="29494"/>
                    <a:pt x="298288" y="29494"/>
                    <a:pt x="297285" y="28492"/>
                  </a:cubicBezTo>
                  <a:cubicBezTo>
                    <a:pt x="298288" y="26486"/>
                    <a:pt x="285249" y="25483"/>
                    <a:pt x="289261" y="23478"/>
                  </a:cubicBezTo>
                  <a:cubicBezTo>
                    <a:pt x="290264" y="24481"/>
                    <a:pt x="296282" y="24481"/>
                    <a:pt x="300294" y="25483"/>
                  </a:cubicBezTo>
                  <a:cubicBezTo>
                    <a:pt x="300294" y="24481"/>
                    <a:pt x="298288" y="24481"/>
                    <a:pt x="300294" y="23478"/>
                  </a:cubicBezTo>
                  <a:cubicBezTo>
                    <a:pt x="304305" y="24481"/>
                    <a:pt x="308317" y="23478"/>
                    <a:pt x="310323" y="25483"/>
                  </a:cubicBezTo>
                  <a:cubicBezTo>
                    <a:pt x="309320" y="25483"/>
                    <a:pt x="308317" y="25483"/>
                    <a:pt x="307314" y="24481"/>
                  </a:cubicBezTo>
                  <a:cubicBezTo>
                    <a:pt x="309320" y="25483"/>
                    <a:pt x="302300" y="25483"/>
                    <a:pt x="296282" y="26486"/>
                  </a:cubicBezTo>
                  <a:cubicBezTo>
                    <a:pt x="289261" y="27489"/>
                    <a:pt x="283243" y="29494"/>
                    <a:pt x="286252" y="28492"/>
                  </a:cubicBezTo>
                  <a:cubicBezTo>
                    <a:pt x="285249" y="28492"/>
                    <a:pt x="292270" y="26486"/>
                    <a:pt x="299291" y="25483"/>
                  </a:cubicBezTo>
                  <a:cubicBezTo>
                    <a:pt x="306311" y="25483"/>
                    <a:pt x="313332" y="24481"/>
                    <a:pt x="311326" y="24481"/>
                  </a:cubicBezTo>
                  <a:cubicBezTo>
                    <a:pt x="308317" y="23478"/>
                    <a:pt x="314335" y="22475"/>
                    <a:pt x="311326" y="21473"/>
                  </a:cubicBezTo>
                  <a:lnTo>
                    <a:pt x="307314" y="22475"/>
                  </a:lnTo>
                  <a:cubicBezTo>
                    <a:pt x="303302" y="21473"/>
                    <a:pt x="302300" y="18464"/>
                    <a:pt x="303302" y="18464"/>
                  </a:cubicBezTo>
                  <a:cubicBezTo>
                    <a:pt x="307314" y="19467"/>
                    <a:pt x="301297" y="20470"/>
                    <a:pt x="296282" y="21473"/>
                  </a:cubicBezTo>
                  <a:cubicBezTo>
                    <a:pt x="291267" y="22475"/>
                    <a:pt x="285249" y="24481"/>
                    <a:pt x="288258" y="23478"/>
                  </a:cubicBezTo>
                  <a:lnTo>
                    <a:pt x="290264" y="24481"/>
                  </a:lnTo>
                  <a:cubicBezTo>
                    <a:pt x="293273" y="24481"/>
                    <a:pt x="300294" y="23478"/>
                    <a:pt x="302300" y="25483"/>
                  </a:cubicBezTo>
                  <a:cubicBezTo>
                    <a:pt x="302300" y="24481"/>
                    <a:pt x="306311" y="24481"/>
                    <a:pt x="309320" y="24481"/>
                  </a:cubicBezTo>
                  <a:lnTo>
                    <a:pt x="310323" y="24481"/>
                  </a:lnTo>
                  <a:cubicBezTo>
                    <a:pt x="313332" y="24481"/>
                    <a:pt x="317344" y="25483"/>
                    <a:pt x="316341" y="23478"/>
                  </a:cubicBezTo>
                  <a:cubicBezTo>
                    <a:pt x="307314" y="22475"/>
                    <a:pt x="311326" y="19467"/>
                    <a:pt x="314335" y="16459"/>
                  </a:cubicBezTo>
                  <a:cubicBezTo>
                    <a:pt x="318346" y="13451"/>
                    <a:pt x="322358" y="11445"/>
                    <a:pt x="313332" y="9440"/>
                  </a:cubicBezTo>
                  <a:cubicBezTo>
                    <a:pt x="320352" y="13451"/>
                    <a:pt x="310323" y="11445"/>
                    <a:pt x="302300" y="10443"/>
                  </a:cubicBezTo>
                  <a:cubicBezTo>
                    <a:pt x="301297" y="9440"/>
                    <a:pt x="298288" y="7434"/>
                    <a:pt x="292270" y="6432"/>
                  </a:cubicBezTo>
                  <a:cubicBezTo>
                    <a:pt x="287255" y="6432"/>
                    <a:pt x="289261" y="7434"/>
                    <a:pt x="288258" y="7434"/>
                  </a:cubicBezTo>
                  <a:cubicBezTo>
                    <a:pt x="285249" y="6432"/>
                    <a:pt x="280235" y="6432"/>
                    <a:pt x="281238" y="4426"/>
                  </a:cubicBezTo>
                  <a:cubicBezTo>
                    <a:pt x="277226" y="6432"/>
                    <a:pt x="275220" y="3424"/>
                    <a:pt x="270205" y="4426"/>
                  </a:cubicBezTo>
                  <a:cubicBezTo>
                    <a:pt x="266194" y="5429"/>
                    <a:pt x="270205" y="5429"/>
                    <a:pt x="267197" y="6432"/>
                  </a:cubicBezTo>
                  <a:cubicBezTo>
                    <a:pt x="261179" y="6432"/>
                    <a:pt x="252153" y="7434"/>
                    <a:pt x="247138" y="7434"/>
                  </a:cubicBezTo>
                  <a:cubicBezTo>
                    <a:pt x="245132" y="6432"/>
                    <a:pt x="239114" y="5429"/>
                    <a:pt x="243126" y="2421"/>
                  </a:cubicBezTo>
                  <a:cubicBezTo>
                    <a:pt x="253155" y="1418"/>
                    <a:pt x="240117" y="6432"/>
                    <a:pt x="250147" y="4426"/>
                  </a:cubicBezTo>
                  <a:cubicBezTo>
                    <a:pt x="245132" y="2421"/>
                    <a:pt x="259173" y="2421"/>
                    <a:pt x="260176" y="415"/>
                  </a:cubicBezTo>
                  <a:cubicBezTo>
                    <a:pt x="257167" y="-587"/>
                    <a:pt x="250147" y="415"/>
                    <a:pt x="245132" y="1418"/>
                  </a:cubicBezTo>
                  <a:lnTo>
                    <a:pt x="246135" y="1418"/>
                  </a:lnTo>
                  <a:cubicBezTo>
                    <a:pt x="241120" y="2421"/>
                    <a:pt x="232094" y="5429"/>
                    <a:pt x="226076" y="4426"/>
                  </a:cubicBezTo>
                  <a:cubicBezTo>
                    <a:pt x="227079" y="3424"/>
                    <a:pt x="225073" y="2421"/>
                    <a:pt x="228082" y="1418"/>
                  </a:cubicBezTo>
                  <a:lnTo>
                    <a:pt x="220059" y="4426"/>
                  </a:lnTo>
                  <a:cubicBezTo>
                    <a:pt x="219056" y="5429"/>
                    <a:pt x="218053" y="5429"/>
                    <a:pt x="220059" y="5429"/>
                  </a:cubicBezTo>
                  <a:cubicBezTo>
                    <a:pt x="217050" y="7434"/>
                    <a:pt x="214041" y="7434"/>
                    <a:pt x="211032" y="7434"/>
                  </a:cubicBezTo>
                  <a:cubicBezTo>
                    <a:pt x="210029" y="7434"/>
                    <a:pt x="202006" y="10443"/>
                    <a:pt x="194985" y="15456"/>
                  </a:cubicBezTo>
                  <a:cubicBezTo>
                    <a:pt x="186962" y="19467"/>
                    <a:pt x="179941" y="24481"/>
                    <a:pt x="180944" y="24481"/>
                  </a:cubicBezTo>
                  <a:cubicBezTo>
                    <a:pt x="176932" y="26486"/>
                    <a:pt x="174926" y="25483"/>
                    <a:pt x="170915" y="28492"/>
                  </a:cubicBezTo>
                  <a:cubicBezTo>
                    <a:pt x="170915" y="28492"/>
                    <a:pt x="172920" y="27489"/>
                    <a:pt x="176932" y="25483"/>
                  </a:cubicBezTo>
                  <a:cubicBezTo>
                    <a:pt x="180944" y="23478"/>
                    <a:pt x="184956" y="20470"/>
                    <a:pt x="189970" y="17462"/>
                  </a:cubicBezTo>
                  <a:cubicBezTo>
                    <a:pt x="194985" y="15456"/>
                    <a:pt x="198997" y="12448"/>
                    <a:pt x="203009" y="10443"/>
                  </a:cubicBezTo>
                  <a:cubicBezTo>
                    <a:pt x="206018" y="9440"/>
                    <a:pt x="208023" y="8437"/>
                    <a:pt x="206018" y="8437"/>
                  </a:cubicBezTo>
                  <a:cubicBezTo>
                    <a:pt x="205015" y="8437"/>
                    <a:pt x="201003" y="9440"/>
                    <a:pt x="195988" y="12448"/>
                  </a:cubicBezTo>
                  <a:cubicBezTo>
                    <a:pt x="190973" y="14454"/>
                    <a:pt x="184956" y="18464"/>
                    <a:pt x="178938" y="21473"/>
                  </a:cubicBezTo>
                  <a:cubicBezTo>
                    <a:pt x="172920" y="24481"/>
                    <a:pt x="167906" y="28492"/>
                    <a:pt x="162891" y="31500"/>
                  </a:cubicBezTo>
                  <a:cubicBezTo>
                    <a:pt x="158879" y="34508"/>
                    <a:pt x="155871" y="36513"/>
                    <a:pt x="154868" y="36513"/>
                  </a:cubicBezTo>
                  <a:cubicBezTo>
                    <a:pt x="151859" y="38519"/>
                    <a:pt x="148850" y="41527"/>
                    <a:pt x="149853" y="41527"/>
                  </a:cubicBezTo>
                  <a:cubicBezTo>
                    <a:pt x="144838" y="44535"/>
                    <a:pt x="149853" y="38519"/>
                    <a:pt x="145841" y="40524"/>
                  </a:cubicBezTo>
                  <a:cubicBezTo>
                    <a:pt x="145841" y="40524"/>
                    <a:pt x="146844" y="40524"/>
                    <a:pt x="144838" y="41527"/>
                  </a:cubicBezTo>
                  <a:cubicBezTo>
                    <a:pt x="143835" y="41527"/>
                    <a:pt x="141830" y="42530"/>
                    <a:pt x="140827" y="42530"/>
                  </a:cubicBezTo>
                  <a:cubicBezTo>
                    <a:pt x="137818" y="46541"/>
                    <a:pt x="132803" y="49549"/>
                    <a:pt x="127788" y="52557"/>
                  </a:cubicBezTo>
                  <a:cubicBezTo>
                    <a:pt x="123777" y="56568"/>
                    <a:pt x="118762" y="60579"/>
                    <a:pt x="115753" y="64590"/>
                  </a:cubicBezTo>
                  <a:cubicBezTo>
                    <a:pt x="116756" y="61582"/>
                    <a:pt x="117759" y="57571"/>
                    <a:pt x="121771" y="52557"/>
                  </a:cubicBezTo>
                  <a:lnTo>
                    <a:pt x="122774" y="52557"/>
                  </a:lnTo>
                  <a:cubicBezTo>
                    <a:pt x="122774" y="51554"/>
                    <a:pt x="126786" y="47543"/>
                    <a:pt x="125783" y="47543"/>
                  </a:cubicBezTo>
                  <a:cubicBezTo>
                    <a:pt x="120768" y="50552"/>
                    <a:pt x="116756" y="54563"/>
                    <a:pt x="112744" y="59576"/>
                  </a:cubicBezTo>
                  <a:cubicBezTo>
                    <a:pt x="111742" y="60579"/>
                    <a:pt x="110739" y="60579"/>
                    <a:pt x="109736" y="61582"/>
                  </a:cubicBezTo>
                  <a:cubicBezTo>
                    <a:pt x="109736" y="61582"/>
                    <a:pt x="109736" y="61582"/>
                    <a:pt x="109736" y="61582"/>
                  </a:cubicBezTo>
                  <a:cubicBezTo>
                    <a:pt x="107730" y="62584"/>
                    <a:pt x="107730" y="62584"/>
                    <a:pt x="107730" y="61582"/>
                  </a:cubicBezTo>
                  <a:cubicBezTo>
                    <a:pt x="107730" y="61582"/>
                    <a:pt x="107730" y="61582"/>
                    <a:pt x="107730" y="60579"/>
                  </a:cubicBezTo>
                  <a:cubicBezTo>
                    <a:pt x="104721" y="60579"/>
                    <a:pt x="101712" y="65593"/>
                    <a:pt x="96697" y="70606"/>
                  </a:cubicBezTo>
                  <a:cubicBezTo>
                    <a:pt x="92685" y="76623"/>
                    <a:pt x="87671" y="82639"/>
                    <a:pt x="83659" y="86650"/>
                  </a:cubicBezTo>
                  <a:cubicBezTo>
                    <a:pt x="81653" y="89658"/>
                    <a:pt x="83659" y="87652"/>
                    <a:pt x="81653" y="90661"/>
                  </a:cubicBezTo>
                  <a:cubicBezTo>
                    <a:pt x="73630" y="98682"/>
                    <a:pt x="68615" y="104699"/>
                    <a:pt x="61595" y="114726"/>
                  </a:cubicBezTo>
                  <a:cubicBezTo>
                    <a:pt x="60592" y="118737"/>
                    <a:pt x="61595" y="119740"/>
                    <a:pt x="64603" y="115729"/>
                  </a:cubicBezTo>
                  <a:lnTo>
                    <a:pt x="59589" y="123751"/>
                  </a:lnTo>
                  <a:cubicBezTo>
                    <a:pt x="59589" y="119740"/>
                    <a:pt x="56580" y="122748"/>
                    <a:pt x="54574" y="125756"/>
                  </a:cubicBezTo>
                  <a:cubicBezTo>
                    <a:pt x="51565" y="128764"/>
                    <a:pt x="49559" y="131772"/>
                    <a:pt x="49559" y="126759"/>
                  </a:cubicBezTo>
                  <a:cubicBezTo>
                    <a:pt x="47553" y="128764"/>
                    <a:pt x="44545" y="133778"/>
                    <a:pt x="43542" y="138792"/>
                  </a:cubicBezTo>
                  <a:cubicBezTo>
                    <a:pt x="44545" y="139794"/>
                    <a:pt x="45548" y="140797"/>
                    <a:pt x="42539" y="146813"/>
                  </a:cubicBezTo>
                  <a:cubicBezTo>
                    <a:pt x="37524" y="154835"/>
                    <a:pt x="38527" y="152830"/>
                    <a:pt x="34515" y="158846"/>
                  </a:cubicBezTo>
                  <a:cubicBezTo>
                    <a:pt x="32509" y="159849"/>
                    <a:pt x="33512" y="156841"/>
                    <a:pt x="32509" y="156841"/>
                  </a:cubicBezTo>
                  <a:cubicBezTo>
                    <a:pt x="30504" y="167871"/>
                    <a:pt x="26492" y="164862"/>
                    <a:pt x="22480" y="175892"/>
                  </a:cubicBezTo>
                  <a:cubicBezTo>
                    <a:pt x="20474" y="182911"/>
                    <a:pt x="17465" y="195947"/>
                    <a:pt x="19471" y="196950"/>
                  </a:cubicBezTo>
                  <a:cubicBezTo>
                    <a:pt x="20474" y="206977"/>
                    <a:pt x="19471" y="205974"/>
                    <a:pt x="17465" y="204971"/>
                  </a:cubicBezTo>
                  <a:close/>
                </a:path>
              </a:pathLst>
            </a:custGeom>
            <a:solidFill>
              <a:srgbClr val="154573"/>
            </a:solidFill>
            <a:ln w="100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 sz="1800"/>
            </a:p>
          </p:txBody>
        </p:sp>
      </p:grpSp>
      <p:grpSp>
        <p:nvGrpSpPr>
          <p:cNvPr id="23" name="Gruppe 22">
            <a:extLst>
              <a:ext uri="{FF2B5EF4-FFF2-40B4-BE49-F238E27FC236}">
                <a16:creationId xmlns:a16="http://schemas.microsoft.com/office/drawing/2014/main" id="{9EE11248-F3BF-864C-A177-EBFB23D8503C}"/>
              </a:ext>
            </a:extLst>
          </p:cNvPr>
          <p:cNvGrpSpPr/>
          <p:nvPr userDrawn="1"/>
        </p:nvGrpSpPr>
        <p:grpSpPr>
          <a:xfrm>
            <a:off x="1308674" y="3024887"/>
            <a:ext cx="592351" cy="906402"/>
            <a:chOff x="2203157" y="4098931"/>
            <a:chExt cx="592351" cy="906402"/>
          </a:xfrm>
        </p:grpSpPr>
        <p:sp>
          <p:nvSpPr>
            <p:cNvPr id="13" name="Tekstfelt 12">
              <a:extLst>
                <a:ext uri="{FF2B5EF4-FFF2-40B4-BE49-F238E27FC236}">
                  <a16:creationId xmlns:a16="http://schemas.microsoft.com/office/drawing/2014/main" id="{79CFF0CC-1C59-7142-A8CC-AF4FDFDE936E}"/>
                </a:ext>
              </a:extLst>
            </p:cNvPr>
            <p:cNvSpPr txBox="1"/>
            <p:nvPr/>
          </p:nvSpPr>
          <p:spPr>
            <a:xfrm>
              <a:off x="2267799" y="4098931"/>
              <a:ext cx="527709" cy="9064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da-DK" sz="5290" spc="0" baseline="0">
                  <a:solidFill>
                    <a:srgbClr val="154573"/>
                  </a:solidFill>
                  <a:latin typeface="Manus"/>
                  <a:sym typeface="Manus"/>
                  <a:rtl val="0"/>
                </a:rPr>
                <a:t>2</a:t>
              </a:r>
            </a:p>
          </p:txBody>
        </p:sp>
        <p:sp>
          <p:nvSpPr>
            <p:cNvPr id="19" name="Kombinationstegning 18">
              <a:extLst>
                <a:ext uri="{FF2B5EF4-FFF2-40B4-BE49-F238E27FC236}">
                  <a16:creationId xmlns:a16="http://schemas.microsoft.com/office/drawing/2014/main" id="{98186A7F-E04F-A344-8C97-E1F4020EE1C7}"/>
                </a:ext>
              </a:extLst>
            </p:cNvPr>
            <p:cNvSpPr/>
            <p:nvPr/>
          </p:nvSpPr>
          <p:spPr>
            <a:xfrm>
              <a:off x="2203157" y="4178700"/>
              <a:ext cx="572724" cy="608067"/>
            </a:xfrm>
            <a:custGeom>
              <a:avLst/>
              <a:gdLst>
                <a:gd name="connsiteX0" fmla="*/ 17465 w 572724"/>
                <a:gd name="connsiteY0" fmla="*/ 206977 h 608067"/>
                <a:gd name="connsiteX1" fmla="*/ 15460 w 572724"/>
                <a:gd name="connsiteY1" fmla="*/ 213996 h 608067"/>
                <a:gd name="connsiteX2" fmla="*/ 40533 w 572724"/>
                <a:gd name="connsiteY2" fmla="*/ 142802 h 608067"/>
                <a:gd name="connsiteX3" fmla="*/ 6433 w 572724"/>
                <a:gd name="connsiteY3" fmla="*/ 223021 h 608067"/>
                <a:gd name="connsiteX4" fmla="*/ 8439 w 572724"/>
                <a:gd name="connsiteY4" fmla="*/ 300230 h 608067"/>
                <a:gd name="connsiteX5" fmla="*/ 415 w 572724"/>
                <a:gd name="connsiteY5" fmla="*/ 331315 h 608067"/>
                <a:gd name="connsiteX6" fmla="*/ 1418 w 572724"/>
                <a:gd name="connsiteY6" fmla="*/ 359391 h 608067"/>
                <a:gd name="connsiteX7" fmla="*/ 10445 w 572724"/>
                <a:gd name="connsiteY7" fmla="*/ 392481 h 608067"/>
                <a:gd name="connsiteX8" fmla="*/ 4427 w 572724"/>
                <a:gd name="connsiteY8" fmla="*/ 369418 h 608067"/>
                <a:gd name="connsiteX9" fmla="*/ 10445 w 572724"/>
                <a:gd name="connsiteY9" fmla="*/ 392481 h 608067"/>
                <a:gd name="connsiteX10" fmla="*/ 29501 w 572724"/>
                <a:gd name="connsiteY10" fmla="*/ 445626 h 608067"/>
                <a:gd name="connsiteX11" fmla="*/ 60592 w 572724"/>
                <a:gd name="connsiteY11" fmla="*/ 496765 h 608067"/>
                <a:gd name="connsiteX12" fmla="*/ 156874 w 572724"/>
                <a:gd name="connsiteY12" fmla="*/ 569964 h 608067"/>
                <a:gd name="connsiteX13" fmla="*/ 257167 w 572724"/>
                <a:gd name="connsiteY13" fmla="*/ 601048 h 608067"/>
                <a:gd name="connsiteX14" fmla="*/ 317343 w 572724"/>
                <a:gd name="connsiteY14" fmla="*/ 608067 h 608067"/>
                <a:gd name="connsiteX15" fmla="*/ 364482 w 572724"/>
                <a:gd name="connsiteY15" fmla="*/ 607064 h 608067"/>
                <a:gd name="connsiteX16" fmla="*/ 385543 w 572724"/>
                <a:gd name="connsiteY16" fmla="*/ 604056 h 608067"/>
                <a:gd name="connsiteX17" fmla="*/ 362476 w 572724"/>
                <a:gd name="connsiteY17" fmla="*/ 606062 h 608067"/>
                <a:gd name="connsiteX18" fmla="*/ 438699 w 572724"/>
                <a:gd name="connsiteY18" fmla="*/ 578988 h 608067"/>
                <a:gd name="connsiteX19" fmla="*/ 422652 w 572724"/>
                <a:gd name="connsiteY19" fmla="*/ 580994 h 608067"/>
                <a:gd name="connsiteX20" fmla="*/ 434687 w 572724"/>
                <a:gd name="connsiteY20" fmla="*/ 576983 h 608067"/>
                <a:gd name="connsiteX21" fmla="*/ 476810 w 572724"/>
                <a:gd name="connsiteY21" fmla="*/ 546901 h 608067"/>
                <a:gd name="connsiteX22" fmla="*/ 490852 w 572724"/>
                <a:gd name="connsiteY22" fmla="*/ 537876 h 608067"/>
                <a:gd name="connsiteX23" fmla="*/ 487843 w 572724"/>
                <a:gd name="connsiteY23" fmla="*/ 538879 h 608067"/>
                <a:gd name="connsiteX24" fmla="*/ 521942 w 572724"/>
                <a:gd name="connsiteY24" fmla="*/ 498770 h 608067"/>
                <a:gd name="connsiteX25" fmla="*/ 543004 w 572724"/>
                <a:gd name="connsiteY25" fmla="*/ 454650 h 608067"/>
                <a:gd name="connsiteX26" fmla="*/ 547016 w 572724"/>
                <a:gd name="connsiteY26" fmla="*/ 446628 h 608067"/>
                <a:gd name="connsiteX27" fmla="*/ 553034 w 572724"/>
                <a:gd name="connsiteY27" fmla="*/ 419555 h 608067"/>
                <a:gd name="connsiteX28" fmla="*/ 559051 w 572724"/>
                <a:gd name="connsiteY28" fmla="*/ 411533 h 608067"/>
                <a:gd name="connsiteX29" fmla="*/ 566072 w 572724"/>
                <a:gd name="connsiteY29" fmla="*/ 352372 h 608067"/>
                <a:gd name="connsiteX30" fmla="*/ 571087 w 572724"/>
                <a:gd name="connsiteY30" fmla="*/ 246083 h 608067"/>
                <a:gd name="connsiteX31" fmla="*/ 528963 w 572724"/>
                <a:gd name="connsiteY31" fmla="*/ 144808 h 608067"/>
                <a:gd name="connsiteX32" fmla="*/ 528963 w 572724"/>
                <a:gd name="connsiteY32" fmla="*/ 146813 h 608067"/>
                <a:gd name="connsiteX33" fmla="*/ 469790 w 572724"/>
                <a:gd name="connsiteY33" fmla="*/ 96677 h 608067"/>
                <a:gd name="connsiteX34" fmla="*/ 437696 w 572724"/>
                <a:gd name="connsiteY34" fmla="*/ 83642 h 608067"/>
                <a:gd name="connsiteX35" fmla="*/ 422652 w 572724"/>
                <a:gd name="connsiteY35" fmla="*/ 80633 h 608067"/>
                <a:gd name="connsiteX36" fmla="*/ 412622 w 572724"/>
                <a:gd name="connsiteY36" fmla="*/ 80633 h 608067"/>
                <a:gd name="connsiteX37" fmla="*/ 397578 w 572724"/>
                <a:gd name="connsiteY37" fmla="*/ 77625 h 608067"/>
                <a:gd name="connsiteX38" fmla="*/ 384540 w 572724"/>
                <a:gd name="connsiteY38" fmla="*/ 76623 h 608067"/>
                <a:gd name="connsiteX39" fmla="*/ 372505 w 572724"/>
                <a:gd name="connsiteY39" fmla="*/ 76623 h 608067"/>
                <a:gd name="connsiteX40" fmla="*/ 357461 w 572724"/>
                <a:gd name="connsiteY40" fmla="*/ 77625 h 608067"/>
                <a:gd name="connsiteX41" fmla="*/ 350440 w 572724"/>
                <a:gd name="connsiteY41" fmla="*/ 80633 h 608067"/>
                <a:gd name="connsiteX42" fmla="*/ 347432 w 572724"/>
                <a:gd name="connsiteY42" fmla="*/ 82639 h 608067"/>
                <a:gd name="connsiteX43" fmla="*/ 374511 w 572724"/>
                <a:gd name="connsiteY43" fmla="*/ 85647 h 608067"/>
                <a:gd name="connsiteX44" fmla="*/ 374511 w 572724"/>
                <a:gd name="connsiteY44" fmla="*/ 84644 h 608067"/>
                <a:gd name="connsiteX45" fmla="*/ 451737 w 572724"/>
                <a:gd name="connsiteY45" fmla="*/ 115729 h 608067"/>
                <a:gd name="connsiteX46" fmla="*/ 507901 w 572724"/>
                <a:gd name="connsiteY46" fmla="*/ 175892 h 608067"/>
                <a:gd name="connsiteX47" fmla="*/ 528963 w 572724"/>
                <a:gd name="connsiteY47" fmla="*/ 228034 h 608067"/>
                <a:gd name="connsiteX48" fmla="*/ 531972 w 572724"/>
                <a:gd name="connsiteY48" fmla="*/ 288198 h 608067"/>
                <a:gd name="connsiteX49" fmla="*/ 524951 w 572724"/>
                <a:gd name="connsiteY49" fmla="*/ 357386 h 608067"/>
                <a:gd name="connsiteX50" fmla="*/ 513919 w 572724"/>
                <a:gd name="connsiteY50" fmla="*/ 420557 h 608067"/>
                <a:gd name="connsiteX51" fmla="*/ 503890 w 572724"/>
                <a:gd name="connsiteY51" fmla="*/ 441615 h 608067"/>
                <a:gd name="connsiteX52" fmla="*/ 477813 w 572724"/>
                <a:gd name="connsiteY52" fmla="*/ 489746 h 608067"/>
                <a:gd name="connsiteX53" fmla="*/ 434687 w 572724"/>
                <a:gd name="connsiteY53" fmla="*/ 527849 h 608067"/>
                <a:gd name="connsiteX54" fmla="*/ 436693 w 572724"/>
                <a:gd name="connsiteY54" fmla="*/ 526846 h 608067"/>
                <a:gd name="connsiteX55" fmla="*/ 385543 w 572724"/>
                <a:gd name="connsiteY55" fmla="*/ 545898 h 608067"/>
                <a:gd name="connsiteX56" fmla="*/ 381531 w 572724"/>
                <a:gd name="connsiteY56" fmla="*/ 547904 h 608067"/>
                <a:gd name="connsiteX57" fmla="*/ 361473 w 572724"/>
                <a:gd name="connsiteY57" fmla="*/ 550912 h 608067"/>
                <a:gd name="connsiteX58" fmla="*/ 320352 w 572724"/>
                <a:gd name="connsiteY58" fmla="*/ 556928 h 608067"/>
                <a:gd name="connsiteX59" fmla="*/ 254159 w 572724"/>
                <a:gd name="connsiteY59" fmla="*/ 553920 h 608067"/>
                <a:gd name="connsiteX60" fmla="*/ 247138 w 572724"/>
                <a:gd name="connsiteY60" fmla="*/ 552917 h 608067"/>
                <a:gd name="connsiteX61" fmla="*/ 184956 w 572724"/>
                <a:gd name="connsiteY61" fmla="*/ 529855 h 608067"/>
                <a:gd name="connsiteX62" fmla="*/ 133806 w 572724"/>
                <a:gd name="connsiteY62" fmla="*/ 500776 h 608067"/>
                <a:gd name="connsiteX63" fmla="*/ 112744 w 572724"/>
                <a:gd name="connsiteY63" fmla="*/ 490748 h 608067"/>
                <a:gd name="connsiteX64" fmla="*/ 100709 w 572724"/>
                <a:gd name="connsiteY64" fmla="*/ 480721 h 608067"/>
                <a:gd name="connsiteX65" fmla="*/ 87671 w 572724"/>
                <a:gd name="connsiteY65" fmla="*/ 464677 h 608067"/>
                <a:gd name="connsiteX66" fmla="*/ 64603 w 572724"/>
                <a:gd name="connsiteY66" fmla="*/ 425571 h 608067"/>
                <a:gd name="connsiteX67" fmla="*/ 56580 w 572724"/>
                <a:gd name="connsiteY67" fmla="*/ 407522 h 608067"/>
                <a:gd name="connsiteX68" fmla="*/ 55577 w 572724"/>
                <a:gd name="connsiteY68" fmla="*/ 395489 h 608067"/>
                <a:gd name="connsiteX69" fmla="*/ 51565 w 572724"/>
                <a:gd name="connsiteY69" fmla="*/ 369418 h 608067"/>
                <a:gd name="connsiteX70" fmla="*/ 47553 w 572724"/>
                <a:gd name="connsiteY70" fmla="*/ 347358 h 608067"/>
                <a:gd name="connsiteX71" fmla="*/ 43542 w 572724"/>
                <a:gd name="connsiteY71" fmla="*/ 325299 h 608067"/>
                <a:gd name="connsiteX72" fmla="*/ 43542 w 572724"/>
                <a:gd name="connsiteY72" fmla="*/ 328307 h 608067"/>
                <a:gd name="connsiteX73" fmla="*/ 48556 w 572724"/>
                <a:gd name="connsiteY73" fmla="*/ 280176 h 608067"/>
                <a:gd name="connsiteX74" fmla="*/ 61595 w 572724"/>
                <a:gd name="connsiteY74" fmla="*/ 205974 h 608067"/>
                <a:gd name="connsiteX75" fmla="*/ 89677 w 572724"/>
                <a:gd name="connsiteY75" fmla="*/ 139794 h 608067"/>
                <a:gd name="connsiteX76" fmla="*/ 82656 w 572724"/>
                <a:gd name="connsiteY76" fmla="*/ 147816 h 608067"/>
                <a:gd name="connsiteX77" fmla="*/ 132803 w 572724"/>
                <a:gd name="connsiteY77" fmla="*/ 87652 h 608067"/>
                <a:gd name="connsiteX78" fmla="*/ 143835 w 572724"/>
                <a:gd name="connsiteY78" fmla="*/ 81636 h 608067"/>
                <a:gd name="connsiteX79" fmla="*/ 151859 w 572724"/>
                <a:gd name="connsiteY79" fmla="*/ 74617 h 608067"/>
                <a:gd name="connsiteX80" fmla="*/ 153865 w 572724"/>
                <a:gd name="connsiteY80" fmla="*/ 75620 h 608067"/>
                <a:gd name="connsiteX81" fmla="*/ 171918 w 572724"/>
                <a:gd name="connsiteY81" fmla="*/ 64590 h 608067"/>
                <a:gd name="connsiteX82" fmla="*/ 176932 w 572724"/>
                <a:gd name="connsiteY82" fmla="*/ 60579 h 608067"/>
                <a:gd name="connsiteX83" fmla="*/ 184956 w 572724"/>
                <a:gd name="connsiteY83" fmla="*/ 58573 h 608067"/>
                <a:gd name="connsiteX84" fmla="*/ 184956 w 572724"/>
                <a:gd name="connsiteY84" fmla="*/ 58573 h 608067"/>
                <a:gd name="connsiteX85" fmla="*/ 189970 w 572724"/>
                <a:gd name="connsiteY85" fmla="*/ 56568 h 608067"/>
                <a:gd name="connsiteX86" fmla="*/ 206018 w 572724"/>
                <a:gd name="connsiteY86" fmla="*/ 45538 h 608067"/>
                <a:gd name="connsiteX87" fmla="*/ 223067 w 572724"/>
                <a:gd name="connsiteY87" fmla="*/ 35511 h 608067"/>
                <a:gd name="connsiteX88" fmla="*/ 225073 w 572724"/>
                <a:gd name="connsiteY88" fmla="*/ 35511 h 608067"/>
                <a:gd name="connsiteX89" fmla="*/ 228082 w 572724"/>
                <a:gd name="connsiteY89" fmla="*/ 32503 h 608067"/>
                <a:gd name="connsiteX90" fmla="*/ 234100 w 572724"/>
                <a:gd name="connsiteY90" fmla="*/ 31500 h 608067"/>
                <a:gd name="connsiteX91" fmla="*/ 233097 w 572724"/>
                <a:gd name="connsiteY91" fmla="*/ 31500 h 608067"/>
                <a:gd name="connsiteX92" fmla="*/ 239114 w 572724"/>
                <a:gd name="connsiteY92" fmla="*/ 30497 h 608067"/>
                <a:gd name="connsiteX93" fmla="*/ 240117 w 572724"/>
                <a:gd name="connsiteY93" fmla="*/ 32503 h 608067"/>
                <a:gd name="connsiteX94" fmla="*/ 250147 w 572724"/>
                <a:gd name="connsiteY94" fmla="*/ 30497 h 608067"/>
                <a:gd name="connsiteX95" fmla="*/ 219056 w 572724"/>
                <a:gd name="connsiteY95" fmla="*/ 31500 h 608067"/>
                <a:gd name="connsiteX96" fmla="*/ 234100 w 572724"/>
                <a:gd name="connsiteY96" fmla="*/ 27489 h 608067"/>
                <a:gd name="connsiteX97" fmla="*/ 245132 w 572724"/>
                <a:gd name="connsiteY97" fmla="*/ 27489 h 608067"/>
                <a:gd name="connsiteX98" fmla="*/ 258170 w 572724"/>
                <a:gd name="connsiteY98" fmla="*/ 27489 h 608067"/>
                <a:gd name="connsiteX99" fmla="*/ 265191 w 572724"/>
                <a:gd name="connsiteY99" fmla="*/ 25483 h 608067"/>
                <a:gd name="connsiteX100" fmla="*/ 273214 w 572724"/>
                <a:gd name="connsiteY100" fmla="*/ 26486 h 608067"/>
                <a:gd name="connsiteX101" fmla="*/ 261179 w 572724"/>
                <a:gd name="connsiteY101" fmla="*/ 27489 h 608067"/>
                <a:gd name="connsiteX102" fmla="*/ 266194 w 572724"/>
                <a:gd name="connsiteY102" fmla="*/ 28492 h 608067"/>
                <a:gd name="connsiteX103" fmla="*/ 273214 w 572724"/>
                <a:gd name="connsiteY103" fmla="*/ 28492 h 608067"/>
                <a:gd name="connsiteX104" fmla="*/ 287255 w 572724"/>
                <a:gd name="connsiteY104" fmla="*/ 28492 h 608067"/>
                <a:gd name="connsiteX105" fmla="*/ 293273 w 572724"/>
                <a:gd name="connsiteY105" fmla="*/ 31500 h 608067"/>
                <a:gd name="connsiteX106" fmla="*/ 297285 w 572724"/>
                <a:gd name="connsiteY106" fmla="*/ 30497 h 608067"/>
                <a:gd name="connsiteX107" fmla="*/ 289261 w 572724"/>
                <a:gd name="connsiteY107" fmla="*/ 25483 h 608067"/>
                <a:gd name="connsiteX108" fmla="*/ 300294 w 572724"/>
                <a:gd name="connsiteY108" fmla="*/ 27489 h 608067"/>
                <a:gd name="connsiteX109" fmla="*/ 300294 w 572724"/>
                <a:gd name="connsiteY109" fmla="*/ 25483 h 608067"/>
                <a:gd name="connsiteX110" fmla="*/ 310323 w 572724"/>
                <a:gd name="connsiteY110" fmla="*/ 27489 h 608067"/>
                <a:gd name="connsiteX111" fmla="*/ 307314 w 572724"/>
                <a:gd name="connsiteY111" fmla="*/ 26486 h 608067"/>
                <a:gd name="connsiteX112" fmla="*/ 296282 w 572724"/>
                <a:gd name="connsiteY112" fmla="*/ 28492 h 608067"/>
                <a:gd name="connsiteX113" fmla="*/ 286252 w 572724"/>
                <a:gd name="connsiteY113" fmla="*/ 30497 h 608067"/>
                <a:gd name="connsiteX114" fmla="*/ 299291 w 572724"/>
                <a:gd name="connsiteY114" fmla="*/ 27489 h 608067"/>
                <a:gd name="connsiteX115" fmla="*/ 311326 w 572724"/>
                <a:gd name="connsiteY115" fmla="*/ 26486 h 608067"/>
                <a:gd name="connsiteX116" fmla="*/ 311326 w 572724"/>
                <a:gd name="connsiteY116" fmla="*/ 23478 h 608067"/>
                <a:gd name="connsiteX117" fmla="*/ 307314 w 572724"/>
                <a:gd name="connsiteY117" fmla="*/ 24481 h 608067"/>
                <a:gd name="connsiteX118" fmla="*/ 303302 w 572724"/>
                <a:gd name="connsiteY118" fmla="*/ 20470 h 608067"/>
                <a:gd name="connsiteX119" fmla="*/ 296282 w 572724"/>
                <a:gd name="connsiteY119" fmla="*/ 23478 h 608067"/>
                <a:gd name="connsiteX120" fmla="*/ 288258 w 572724"/>
                <a:gd name="connsiteY120" fmla="*/ 25483 h 608067"/>
                <a:gd name="connsiteX121" fmla="*/ 286252 w 572724"/>
                <a:gd name="connsiteY121" fmla="*/ 24481 h 608067"/>
                <a:gd name="connsiteX122" fmla="*/ 298288 w 572724"/>
                <a:gd name="connsiteY122" fmla="*/ 25483 h 608067"/>
                <a:gd name="connsiteX123" fmla="*/ 305308 w 572724"/>
                <a:gd name="connsiteY123" fmla="*/ 24481 h 608067"/>
                <a:gd name="connsiteX124" fmla="*/ 306311 w 572724"/>
                <a:gd name="connsiteY124" fmla="*/ 24481 h 608067"/>
                <a:gd name="connsiteX125" fmla="*/ 312329 w 572724"/>
                <a:gd name="connsiteY125" fmla="*/ 23478 h 608067"/>
                <a:gd name="connsiteX126" fmla="*/ 310323 w 572724"/>
                <a:gd name="connsiteY126" fmla="*/ 16459 h 608067"/>
                <a:gd name="connsiteX127" fmla="*/ 309320 w 572724"/>
                <a:gd name="connsiteY127" fmla="*/ 9440 h 608067"/>
                <a:gd name="connsiteX128" fmla="*/ 298288 w 572724"/>
                <a:gd name="connsiteY128" fmla="*/ 10443 h 608067"/>
                <a:gd name="connsiteX129" fmla="*/ 288258 w 572724"/>
                <a:gd name="connsiteY129" fmla="*/ 6432 h 608067"/>
                <a:gd name="connsiteX130" fmla="*/ 284247 w 572724"/>
                <a:gd name="connsiteY130" fmla="*/ 7434 h 608067"/>
                <a:gd name="connsiteX131" fmla="*/ 277226 w 572724"/>
                <a:gd name="connsiteY131" fmla="*/ 4426 h 608067"/>
                <a:gd name="connsiteX132" fmla="*/ 266194 w 572724"/>
                <a:gd name="connsiteY132" fmla="*/ 4426 h 608067"/>
                <a:gd name="connsiteX133" fmla="*/ 263185 w 572724"/>
                <a:gd name="connsiteY133" fmla="*/ 6432 h 608067"/>
                <a:gd name="connsiteX134" fmla="*/ 243126 w 572724"/>
                <a:gd name="connsiteY134" fmla="*/ 7434 h 608067"/>
                <a:gd name="connsiteX135" fmla="*/ 239114 w 572724"/>
                <a:gd name="connsiteY135" fmla="*/ 2421 h 608067"/>
                <a:gd name="connsiteX136" fmla="*/ 246135 w 572724"/>
                <a:gd name="connsiteY136" fmla="*/ 4426 h 608067"/>
                <a:gd name="connsiteX137" fmla="*/ 256164 w 572724"/>
                <a:gd name="connsiteY137" fmla="*/ 415 h 608067"/>
                <a:gd name="connsiteX138" fmla="*/ 241120 w 572724"/>
                <a:gd name="connsiteY138" fmla="*/ 1418 h 608067"/>
                <a:gd name="connsiteX139" fmla="*/ 242123 w 572724"/>
                <a:gd name="connsiteY139" fmla="*/ 1418 h 608067"/>
                <a:gd name="connsiteX140" fmla="*/ 222064 w 572724"/>
                <a:gd name="connsiteY140" fmla="*/ 4426 h 608067"/>
                <a:gd name="connsiteX141" fmla="*/ 224070 w 572724"/>
                <a:gd name="connsiteY141" fmla="*/ 1418 h 608067"/>
                <a:gd name="connsiteX142" fmla="*/ 217050 w 572724"/>
                <a:gd name="connsiteY142" fmla="*/ 2421 h 608067"/>
                <a:gd name="connsiteX143" fmla="*/ 217050 w 572724"/>
                <a:gd name="connsiteY143" fmla="*/ 3424 h 608067"/>
                <a:gd name="connsiteX144" fmla="*/ 208023 w 572724"/>
                <a:gd name="connsiteY144" fmla="*/ 5429 h 608067"/>
                <a:gd name="connsiteX145" fmla="*/ 191976 w 572724"/>
                <a:gd name="connsiteY145" fmla="*/ 13451 h 608067"/>
                <a:gd name="connsiteX146" fmla="*/ 177935 w 572724"/>
                <a:gd name="connsiteY146" fmla="*/ 22475 h 608067"/>
                <a:gd name="connsiteX147" fmla="*/ 167906 w 572724"/>
                <a:gd name="connsiteY147" fmla="*/ 26486 h 608067"/>
                <a:gd name="connsiteX148" fmla="*/ 173924 w 572724"/>
                <a:gd name="connsiteY148" fmla="*/ 23478 h 608067"/>
                <a:gd name="connsiteX149" fmla="*/ 186962 w 572724"/>
                <a:gd name="connsiteY149" fmla="*/ 15456 h 608067"/>
                <a:gd name="connsiteX150" fmla="*/ 200000 w 572724"/>
                <a:gd name="connsiteY150" fmla="*/ 8437 h 608067"/>
                <a:gd name="connsiteX151" fmla="*/ 203009 w 572724"/>
                <a:gd name="connsiteY151" fmla="*/ 6432 h 608067"/>
                <a:gd name="connsiteX152" fmla="*/ 192979 w 572724"/>
                <a:gd name="connsiteY152" fmla="*/ 10443 h 608067"/>
                <a:gd name="connsiteX153" fmla="*/ 175929 w 572724"/>
                <a:gd name="connsiteY153" fmla="*/ 19467 h 608067"/>
                <a:gd name="connsiteX154" fmla="*/ 159882 w 572724"/>
                <a:gd name="connsiteY154" fmla="*/ 29494 h 608067"/>
                <a:gd name="connsiteX155" fmla="*/ 151859 w 572724"/>
                <a:gd name="connsiteY155" fmla="*/ 34508 h 608067"/>
                <a:gd name="connsiteX156" fmla="*/ 146844 w 572724"/>
                <a:gd name="connsiteY156" fmla="*/ 39522 h 608067"/>
                <a:gd name="connsiteX157" fmla="*/ 142832 w 572724"/>
                <a:gd name="connsiteY157" fmla="*/ 38519 h 608067"/>
                <a:gd name="connsiteX158" fmla="*/ 141829 w 572724"/>
                <a:gd name="connsiteY158" fmla="*/ 39522 h 608067"/>
                <a:gd name="connsiteX159" fmla="*/ 137818 w 572724"/>
                <a:gd name="connsiteY159" fmla="*/ 40524 h 608067"/>
                <a:gd name="connsiteX160" fmla="*/ 124780 w 572724"/>
                <a:gd name="connsiteY160" fmla="*/ 50552 h 608067"/>
                <a:gd name="connsiteX161" fmla="*/ 112744 w 572724"/>
                <a:gd name="connsiteY161" fmla="*/ 62584 h 608067"/>
                <a:gd name="connsiteX162" fmla="*/ 118762 w 572724"/>
                <a:gd name="connsiteY162" fmla="*/ 50552 h 608067"/>
                <a:gd name="connsiteX163" fmla="*/ 119765 w 572724"/>
                <a:gd name="connsiteY163" fmla="*/ 50552 h 608067"/>
                <a:gd name="connsiteX164" fmla="*/ 122774 w 572724"/>
                <a:gd name="connsiteY164" fmla="*/ 45538 h 608067"/>
                <a:gd name="connsiteX165" fmla="*/ 109736 w 572724"/>
                <a:gd name="connsiteY165" fmla="*/ 57571 h 608067"/>
                <a:gd name="connsiteX166" fmla="*/ 106727 w 572724"/>
                <a:gd name="connsiteY166" fmla="*/ 59576 h 608067"/>
                <a:gd name="connsiteX167" fmla="*/ 106727 w 572724"/>
                <a:gd name="connsiteY167" fmla="*/ 59576 h 608067"/>
                <a:gd name="connsiteX168" fmla="*/ 104721 w 572724"/>
                <a:gd name="connsiteY168" fmla="*/ 59576 h 608067"/>
                <a:gd name="connsiteX169" fmla="*/ 104721 w 572724"/>
                <a:gd name="connsiteY169" fmla="*/ 58573 h 608067"/>
                <a:gd name="connsiteX170" fmla="*/ 93689 w 572724"/>
                <a:gd name="connsiteY170" fmla="*/ 68601 h 608067"/>
                <a:gd name="connsiteX171" fmla="*/ 80650 w 572724"/>
                <a:gd name="connsiteY171" fmla="*/ 84644 h 608067"/>
                <a:gd name="connsiteX172" fmla="*/ 78645 w 572724"/>
                <a:gd name="connsiteY172" fmla="*/ 88655 h 608067"/>
                <a:gd name="connsiteX173" fmla="*/ 58586 w 572724"/>
                <a:gd name="connsiteY173" fmla="*/ 112721 h 608067"/>
                <a:gd name="connsiteX174" fmla="*/ 61595 w 572724"/>
                <a:gd name="connsiteY174" fmla="*/ 113723 h 608067"/>
                <a:gd name="connsiteX175" fmla="*/ 56580 w 572724"/>
                <a:gd name="connsiteY175" fmla="*/ 121745 h 608067"/>
                <a:gd name="connsiteX176" fmla="*/ 51565 w 572724"/>
                <a:gd name="connsiteY176" fmla="*/ 123751 h 608067"/>
                <a:gd name="connsiteX177" fmla="*/ 46550 w 572724"/>
                <a:gd name="connsiteY177" fmla="*/ 124753 h 608067"/>
                <a:gd name="connsiteX178" fmla="*/ 40533 w 572724"/>
                <a:gd name="connsiteY178" fmla="*/ 136786 h 608067"/>
                <a:gd name="connsiteX179" fmla="*/ 39530 w 572724"/>
                <a:gd name="connsiteY179" fmla="*/ 144808 h 608067"/>
                <a:gd name="connsiteX180" fmla="*/ 31506 w 572724"/>
                <a:gd name="connsiteY180" fmla="*/ 156841 h 608067"/>
                <a:gd name="connsiteX181" fmla="*/ 29501 w 572724"/>
                <a:gd name="connsiteY181" fmla="*/ 154835 h 608067"/>
                <a:gd name="connsiteX182" fmla="*/ 19471 w 572724"/>
                <a:gd name="connsiteY182" fmla="*/ 173887 h 608067"/>
                <a:gd name="connsiteX183" fmla="*/ 16462 w 572724"/>
                <a:gd name="connsiteY183" fmla="*/ 194944 h 608067"/>
                <a:gd name="connsiteX184" fmla="*/ 17465 w 572724"/>
                <a:gd name="connsiteY184" fmla="*/ 206977 h 608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</a:cxnLst>
              <a:rect l="l" t="t" r="r" b="b"/>
              <a:pathLst>
                <a:path w="572724" h="608067">
                  <a:moveTo>
                    <a:pt x="17465" y="206977"/>
                  </a:moveTo>
                  <a:lnTo>
                    <a:pt x="15460" y="213996"/>
                  </a:lnTo>
                  <a:cubicBezTo>
                    <a:pt x="20474" y="189931"/>
                    <a:pt x="29501" y="165865"/>
                    <a:pt x="40533" y="142802"/>
                  </a:cubicBezTo>
                  <a:cubicBezTo>
                    <a:pt x="25489" y="165865"/>
                    <a:pt x="12451" y="194944"/>
                    <a:pt x="6433" y="223021"/>
                  </a:cubicBezTo>
                  <a:cubicBezTo>
                    <a:pt x="415" y="251097"/>
                    <a:pt x="1418" y="279173"/>
                    <a:pt x="8439" y="300230"/>
                  </a:cubicBezTo>
                  <a:cubicBezTo>
                    <a:pt x="4427" y="302236"/>
                    <a:pt x="1418" y="317277"/>
                    <a:pt x="415" y="331315"/>
                  </a:cubicBezTo>
                  <a:cubicBezTo>
                    <a:pt x="-588" y="345353"/>
                    <a:pt x="415" y="359391"/>
                    <a:pt x="1418" y="359391"/>
                  </a:cubicBezTo>
                  <a:cubicBezTo>
                    <a:pt x="4427" y="370421"/>
                    <a:pt x="7436" y="381451"/>
                    <a:pt x="10445" y="392481"/>
                  </a:cubicBezTo>
                  <a:cubicBezTo>
                    <a:pt x="8439" y="384459"/>
                    <a:pt x="6433" y="377440"/>
                    <a:pt x="4427" y="369418"/>
                  </a:cubicBezTo>
                  <a:cubicBezTo>
                    <a:pt x="6433" y="376438"/>
                    <a:pt x="8439" y="384459"/>
                    <a:pt x="10445" y="392481"/>
                  </a:cubicBezTo>
                  <a:cubicBezTo>
                    <a:pt x="15460" y="409528"/>
                    <a:pt x="21477" y="427577"/>
                    <a:pt x="29501" y="445626"/>
                  </a:cubicBezTo>
                  <a:cubicBezTo>
                    <a:pt x="37524" y="463675"/>
                    <a:pt x="47553" y="480721"/>
                    <a:pt x="60592" y="496765"/>
                  </a:cubicBezTo>
                  <a:cubicBezTo>
                    <a:pt x="86668" y="527849"/>
                    <a:pt x="120768" y="551915"/>
                    <a:pt x="156874" y="569964"/>
                  </a:cubicBezTo>
                  <a:cubicBezTo>
                    <a:pt x="176932" y="579991"/>
                    <a:pt x="216047" y="594029"/>
                    <a:pt x="257167" y="601048"/>
                  </a:cubicBezTo>
                  <a:cubicBezTo>
                    <a:pt x="278229" y="605059"/>
                    <a:pt x="299291" y="607064"/>
                    <a:pt x="317343" y="608067"/>
                  </a:cubicBezTo>
                  <a:cubicBezTo>
                    <a:pt x="336399" y="608067"/>
                    <a:pt x="353449" y="608067"/>
                    <a:pt x="364482" y="607064"/>
                  </a:cubicBezTo>
                  <a:cubicBezTo>
                    <a:pt x="371502" y="606062"/>
                    <a:pt x="378523" y="606062"/>
                    <a:pt x="385543" y="604056"/>
                  </a:cubicBezTo>
                  <a:cubicBezTo>
                    <a:pt x="373508" y="606062"/>
                    <a:pt x="373508" y="605059"/>
                    <a:pt x="362476" y="606062"/>
                  </a:cubicBezTo>
                  <a:cubicBezTo>
                    <a:pt x="390558" y="600045"/>
                    <a:pt x="415631" y="591021"/>
                    <a:pt x="438699" y="578988"/>
                  </a:cubicBezTo>
                  <a:cubicBezTo>
                    <a:pt x="433684" y="579991"/>
                    <a:pt x="432681" y="578988"/>
                    <a:pt x="422652" y="580994"/>
                  </a:cubicBezTo>
                  <a:cubicBezTo>
                    <a:pt x="426664" y="579991"/>
                    <a:pt x="430675" y="578988"/>
                    <a:pt x="434687" y="576983"/>
                  </a:cubicBezTo>
                  <a:cubicBezTo>
                    <a:pt x="444717" y="569964"/>
                    <a:pt x="467784" y="555925"/>
                    <a:pt x="476810" y="546901"/>
                  </a:cubicBezTo>
                  <a:cubicBezTo>
                    <a:pt x="475808" y="549909"/>
                    <a:pt x="483831" y="543893"/>
                    <a:pt x="490852" y="537876"/>
                  </a:cubicBezTo>
                  <a:lnTo>
                    <a:pt x="487843" y="538879"/>
                  </a:lnTo>
                  <a:cubicBezTo>
                    <a:pt x="500881" y="527849"/>
                    <a:pt x="512916" y="513811"/>
                    <a:pt x="521942" y="498770"/>
                  </a:cubicBezTo>
                  <a:cubicBezTo>
                    <a:pt x="530969" y="483729"/>
                    <a:pt x="537990" y="467686"/>
                    <a:pt x="543004" y="454650"/>
                  </a:cubicBezTo>
                  <a:cubicBezTo>
                    <a:pt x="544007" y="450639"/>
                    <a:pt x="546013" y="448634"/>
                    <a:pt x="547016" y="446628"/>
                  </a:cubicBezTo>
                  <a:cubicBezTo>
                    <a:pt x="549022" y="437604"/>
                    <a:pt x="552031" y="428579"/>
                    <a:pt x="553034" y="419555"/>
                  </a:cubicBezTo>
                  <a:cubicBezTo>
                    <a:pt x="555040" y="422563"/>
                    <a:pt x="560054" y="397495"/>
                    <a:pt x="559051" y="411533"/>
                  </a:cubicBezTo>
                  <a:cubicBezTo>
                    <a:pt x="561057" y="390476"/>
                    <a:pt x="566072" y="371424"/>
                    <a:pt x="566072" y="352372"/>
                  </a:cubicBezTo>
                  <a:cubicBezTo>
                    <a:pt x="571087" y="319282"/>
                    <a:pt x="575098" y="283184"/>
                    <a:pt x="571087" y="246083"/>
                  </a:cubicBezTo>
                  <a:cubicBezTo>
                    <a:pt x="567075" y="208982"/>
                    <a:pt x="552031" y="171881"/>
                    <a:pt x="528963" y="144808"/>
                  </a:cubicBezTo>
                  <a:lnTo>
                    <a:pt x="528963" y="146813"/>
                  </a:lnTo>
                  <a:cubicBezTo>
                    <a:pt x="512916" y="127762"/>
                    <a:pt x="493860" y="114726"/>
                    <a:pt x="469790" y="96677"/>
                  </a:cubicBezTo>
                  <a:cubicBezTo>
                    <a:pt x="459761" y="91663"/>
                    <a:pt x="447725" y="86650"/>
                    <a:pt x="437696" y="83642"/>
                  </a:cubicBezTo>
                  <a:cubicBezTo>
                    <a:pt x="432681" y="81636"/>
                    <a:pt x="427666" y="80633"/>
                    <a:pt x="422652" y="80633"/>
                  </a:cubicBezTo>
                  <a:cubicBezTo>
                    <a:pt x="418640" y="80633"/>
                    <a:pt x="414628" y="79631"/>
                    <a:pt x="412622" y="80633"/>
                  </a:cubicBezTo>
                  <a:cubicBezTo>
                    <a:pt x="406605" y="79631"/>
                    <a:pt x="401590" y="78628"/>
                    <a:pt x="397578" y="77625"/>
                  </a:cubicBezTo>
                  <a:cubicBezTo>
                    <a:pt x="392564" y="77625"/>
                    <a:pt x="388552" y="76623"/>
                    <a:pt x="384540" y="76623"/>
                  </a:cubicBezTo>
                  <a:cubicBezTo>
                    <a:pt x="380528" y="76623"/>
                    <a:pt x="376517" y="76623"/>
                    <a:pt x="372505" y="76623"/>
                  </a:cubicBezTo>
                  <a:cubicBezTo>
                    <a:pt x="368493" y="76623"/>
                    <a:pt x="363479" y="76623"/>
                    <a:pt x="357461" y="77625"/>
                  </a:cubicBezTo>
                  <a:cubicBezTo>
                    <a:pt x="360470" y="78628"/>
                    <a:pt x="355455" y="79631"/>
                    <a:pt x="350440" y="80633"/>
                  </a:cubicBezTo>
                  <a:cubicBezTo>
                    <a:pt x="346429" y="81636"/>
                    <a:pt x="341414" y="82639"/>
                    <a:pt x="347432" y="82639"/>
                  </a:cubicBezTo>
                  <a:cubicBezTo>
                    <a:pt x="361473" y="85647"/>
                    <a:pt x="362476" y="82639"/>
                    <a:pt x="374511" y="85647"/>
                  </a:cubicBezTo>
                  <a:lnTo>
                    <a:pt x="374511" y="84644"/>
                  </a:lnTo>
                  <a:cubicBezTo>
                    <a:pt x="402593" y="88655"/>
                    <a:pt x="428669" y="99685"/>
                    <a:pt x="451737" y="115729"/>
                  </a:cubicBezTo>
                  <a:cubicBezTo>
                    <a:pt x="474805" y="131772"/>
                    <a:pt x="494863" y="151827"/>
                    <a:pt x="507901" y="175892"/>
                  </a:cubicBezTo>
                  <a:cubicBezTo>
                    <a:pt x="518934" y="190933"/>
                    <a:pt x="525954" y="208982"/>
                    <a:pt x="528963" y="228034"/>
                  </a:cubicBezTo>
                  <a:cubicBezTo>
                    <a:pt x="532975" y="247086"/>
                    <a:pt x="532975" y="268143"/>
                    <a:pt x="531972" y="288198"/>
                  </a:cubicBezTo>
                  <a:cubicBezTo>
                    <a:pt x="530969" y="310258"/>
                    <a:pt x="527960" y="334323"/>
                    <a:pt x="524951" y="357386"/>
                  </a:cubicBezTo>
                  <a:cubicBezTo>
                    <a:pt x="521942" y="380448"/>
                    <a:pt x="518934" y="402508"/>
                    <a:pt x="513919" y="420557"/>
                  </a:cubicBezTo>
                  <a:cubicBezTo>
                    <a:pt x="511913" y="429582"/>
                    <a:pt x="507901" y="434596"/>
                    <a:pt x="503890" y="441615"/>
                  </a:cubicBezTo>
                  <a:cubicBezTo>
                    <a:pt x="497872" y="457658"/>
                    <a:pt x="489849" y="474705"/>
                    <a:pt x="477813" y="489746"/>
                  </a:cubicBezTo>
                  <a:cubicBezTo>
                    <a:pt x="465778" y="504786"/>
                    <a:pt x="450734" y="517822"/>
                    <a:pt x="434687" y="527849"/>
                  </a:cubicBezTo>
                  <a:cubicBezTo>
                    <a:pt x="435690" y="527849"/>
                    <a:pt x="435690" y="526846"/>
                    <a:pt x="436693" y="526846"/>
                  </a:cubicBezTo>
                  <a:cubicBezTo>
                    <a:pt x="419643" y="536874"/>
                    <a:pt x="404599" y="540885"/>
                    <a:pt x="385543" y="545898"/>
                  </a:cubicBezTo>
                  <a:cubicBezTo>
                    <a:pt x="385543" y="546901"/>
                    <a:pt x="382534" y="547904"/>
                    <a:pt x="381531" y="547904"/>
                  </a:cubicBezTo>
                  <a:cubicBezTo>
                    <a:pt x="380528" y="546901"/>
                    <a:pt x="372505" y="548906"/>
                    <a:pt x="361473" y="550912"/>
                  </a:cubicBezTo>
                  <a:cubicBezTo>
                    <a:pt x="350440" y="552917"/>
                    <a:pt x="335396" y="554923"/>
                    <a:pt x="320352" y="556928"/>
                  </a:cubicBezTo>
                  <a:cubicBezTo>
                    <a:pt x="289261" y="558934"/>
                    <a:pt x="257167" y="555925"/>
                    <a:pt x="254159" y="553920"/>
                  </a:cubicBezTo>
                  <a:cubicBezTo>
                    <a:pt x="252153" y="553920"/>
                    <a:pt x="250147" y="552917"/>
                    <a:pt x="247138" y="552917"/>
                  </a:cubicBezTo>
                  <a:cubicBezTo>
                    <a:pt x="226076" y="547904"/>
                    <a:pt x="204012" y="539882"/>
                    <a:pt x="184956" y="529855"/>
                  </a:cubicBezTo>
                  <a:cubicBezTo>
                    <a:pt x="165900" y="520830"/>
                    <a:pt x="148850" y="509800"/>
                    <a:pt x="133806" y="500776"/>
                  </a:cubicBezTo>
                  <a:cubicBezTo>
                    <a:pt x="126785" y="497767"/>
                    <a:pt x="118762" y="493756"/>
                    <a:pt x="112744" y="490748"/>
                  </a:cubicBezTo>
                  <a:cubicBezTo>
                    <a:pt x="108733" y="485735"/>
                    <a:pt x="105724" y="486737"/>
                    <a:pt x="100709" y="480721"/>
                  </a:cubicBezTo>
                  <a:cubicBezTo>
                    <a:pt x="91683" y="462672"/>
                    <a:pt x="84662" y="454650"/>
                    <a:pt x="87671" y="464677"/>
                  </a:cubicBezTo>
                  <a:cubicBezTo>
                    <a:pt x="76639" y="452645"/>
                    <a:pt x="69618" y="438607"/>
                    <a:pt x="64603" y="425571"/>
                  </a:cubicBezTo>
                  <a:cubicBezTo>
                    <a:pt x="61595" y="419555"/>
                    <a:pt x="58586" y="413538"/>
                    <a:pt x="56580" y="407522"/>
                  </a:cubicBezTo>
                  <a:cubicBezTo>
                    <a:pt x="54574" y="402508"/>
                    <a:pt x="54574" y="398498"/>
                    <a:pt x="55577" y="395489"/>
                  </a:cubicBezTo>
                  <a:cubicBezTo>
                    <a:pt x="51565" y="381451"/>
                    <a:pt x="53571" y="385462"/>
                    <a:pt x="51565" y="369418"/>
                  </a:cubicBezTo>
                  <a:cubicBezTo>
                    <a:pt x="52568" y="367413"/>
                    <a:pt x="49559" y="357386"/>
                    <a:pt x="47553" y="347358"/>
                  </a:cubicBezTo>
                  <a:cubicBezTo>
                    <a:pt x="45548" y="337331"/>
                    <a:pt x="43542" y="327304"/>
                    <a:pt x="43542" y="325299"/>
                  </a:cubicBezTo>
                  <a:lnTo>
                    <a:pt x="43542" y="328307"/>
                  </a:lnTo>
                  <a:cubicBezTo>
                    <a:pt x="42539" y="309255"/>
                    <a:pt x="47553" y="297222"/>
                    <a:pt x="48556" y="280176"/>
                  </a:cubicBezTo>
                  <a:cubicBezTo>
                    <a:pt x="50562" y="255108"/>
                    <a:pt x="54574" y="230040"/>
                    <a:pt x="61595" y="205974"/>
                  </a:cubicBezTo>
                  <a:cubicBezTo>
                    <a:pt x="67612" y="181909"/>
                    <a:pt x="77642" y="158846"/>
                    <a:pt x="89677" y="139794"/>
                  </a:cubicBezTo>
                  <a:cubicBezTo>
                    <a:pt x="87671" y="137789"/>
                    <a:pt x="85665" y="148819"/>
                    <a:pt x="82656" y="147816"/>
                  </a:cubicBezTo>
                  <a:cubicBezTo>
                    <a:pt x="95694" y="123751"/>
                    <a:pt x="113747" y="104699"/>
                    <a:pt x="132803" y="87652"/>
                  </a:cubicBezTo>
                  <a:cubicBezTo>
                    <a:pt x="136815" y="84644"/>
                    <a:pt x="141829" y="82639"/>
                    <a:pt x="143835" y="81636"/>
                  </a:cubicBezTo>
                  <a:cubicBezTo>
                    <a:pt x="150856" y="76623"/>
                    <a:pt x="146844" y="77625"/>
                    <a:pt x="151859" y="74617"/>
                  </a:cubicBezTo>
                  <a:lnTo>
                    <a:pt x="153865" y="75620"/>
                  </a:lnTo>
                  <a:cubicBezTo>
                    <a:pt x="159882" y="68601"/>
                    <a:pt x="165900" y="70606"/>
                    <a:pt x="171918" y="64590"/>
                  </a:cubicBezTo>
                  <a:cubicBezTo>
                    <a:pt x="171918" y="63587"/>
                    <a:pt x="173924" y="61582"/>
                    <a:pt x="176932" y="60579"/>
                  </a:cubicBezTo>
                  <a:cubicBezTo>
                    <a:pt x="177935" y="62584"/>
                    <a:pt x="184956" y="55565"/>
                    <a:pt x="184956" y="58573"/>
                  </a:cubicBezTo>
                  <a:lnTo>
                    <a:pt x="184956" y="58573"/>
                  </a:lnTo>
                  <a:cubicBezTo>
                    <a:pt x="186962" y="57571"/>
                    <a:pt x="187965" y="57571"/>
                    <a:pt x="189970" y="56568"/>
                  </a:cubicBezTo>
                  <a:cubicBezTo>
                    <a:pt x="190973" y="55565"/>
                    <a:pt x="197994" y="49549"/>
                    <a:pt x="206018" y="45538"/>
                  </a:cubicBezTo>
                  <a:cubicBezTo>
                    <a:pt x="213038" y="40524"/>
                    <a:pt x="221062" y="36513"/>
                    <a:pt x="223067" y="35511"/>
                  </a:cubicBezTo>
                  <a:lnTo>
                    <a:pt x="225073" y="35511"/>
                  </a:lnTo>
                  <a:cubicBezTo>
                    <a:pt x="230088" y="34508"/>
                    <a:pt x="231091" y="32503"/>
                    <a:pt x="228082" y="32503"/>
                  </a:cubicBezTo>
                  <a:lnTo>
                    <a:pt x="234100" y="31500"/>
                  </a:lnTo>
                  <a:lnTo>
                    <a:pt x="233097" y="31500"/>
                  </a:lnTo>
                  <a:lnTo>
                    <a:pt x="239114" y="30497"/>
                  </a:lnTo>
                  <a:cubicBezTo>
                    <a:pt x="240117" y="30497"/>
                    <a:pt x="241120" y="31500"/>
                    <a:pt x="240117" y="32503"/>
                  </a:cubicBezTo>
                  <a:cubicBezTo>
                    <a:pt x="243126" y="31500"/>
                    <a:pt x="247138" y="30497"/>
                    <a:pt x="250147" y="30497"/>
                  </a:cubicBezTo>
                  <a:cubicBezTo>
                    <a:pt x="241120" y="30497"/>
                    <a:pt x="229085" y="30497"/>
                    <a:pt x="219056" y="31500"/>
                  </a:cubicBezTo>
                  <a:cubicBezTo>
                    <a:pt x="223067" y="29494"/>
                    <a:pt x="230088" y="29494"/>
                    <a:pt x="234100" y="27489"/>
                  </a:cubicBezTo>
                  <a:cubicBezTo>
                    <a:pt x="237108" y="27489"/>
                    <a:pt x="241120" y="27489"/>
                    <a:pt x="245132" y="27489"/>
                  </a:cubicBezTo>
                  <a:cubicBezTo>
                    <a:pt x="249144" y="27489"/>
                    <a:pt x="254159" y="27489"/>
                    <a:pt x="258170" y="27489"/>
                  </a:cubicBezTo>
                  <a:cubicBezTo>
                    <a:pt x="260176" y="27489"/>
                    <a:pt x="261179" y="24481"/>
                    <a:pt x="265191" y="25483"/>
                  </a:cubicBezTo>
                  <a:cubicBezTo>
                    <a:pt x="267197" y="27489"/>
                    <a:pt x="270205" y="25483"/>
                    <a:pt x="273214" y="26486"/>
                  </a:cubicBezTo>
                  <a:cubicBezTo>
                    <a:pt x="269203" y="27489"/>
                    <a:pt x="265191" y="27489"/>
                    <a:pt x="261179" y="27489"/>
                  </a:cubicBezTo>
                  <a:cubicBezTo>
                    <a:pt x="261179" y="28492"/>
                    <a:pt x="264188" y="28492"/>
                    <a:pt x="266194" y="28492"/>
                  </a:cubicBezTo>
                  <a:cubicBezTo>
                    <a:pt x="269203" y="28492"/>
                    <a:pt x="272211" y="28492"/>
                    <a:pt x="273214" y="28492"/>
                  </a:cubicBezTo>
                  <a:cubicBezTo>
                    <a:pt x="274217" y="27489"/>
                    <a:pt x="282241" y="28492"/>
                    <a:pt x="287255" y="28492"/>
                  </a:cubicBezTo>
                  <a:cubicBezTo>
                    <a:pt x="285249" y="30497"/>
                    <a:pt x="291267" y="30497"/>
                    <a:pt x="293273" y="31500"/>
                  </a:cubicBezTo>
                  <a:cubicBezTo>
                    <a:pt x="296282" y="31500"/>
                    <a:pt x="298288" y="31500"/>
                    <a:pt x="297285" y="30497"/>
                  </a:cubicBezTo>
                  <a:cubicBezTo>
                    <a:pt x="298288" y="28492"/>
                    <a:pt x="285249" y="27489"/>
                    <a:pt x="289261" y="25483"/>
                  </a:cubicBezTo>
                  <a:cubicBezTo>
                    <a:pt x="290264" y="26486"/>
                    <a:pt x="296282" y="26486"/>
                    <a:pt x="300294" y="27489"/>
                  </a:cubicBezTo>
                  <a:cubicBezTo>
                    <a:pt x="300294" y="26486"/>
                    <a:pt x="298288" y="26486"/>
                    <a:pt x="300294" y="25483"/>
                  </a:cubicBezTo>
                  <a:cubicBezTo>
                    <a:pt x="304305" y="26486"/>
                    <a:pt x="308317" y="25483"/>
                    <a:pt x="310323" y="27489"/>
                  </a:cubicBezTo>
                  <a:cubicBezTo>
                    <a:pt x="309320" y="27489"/>
                    <a:pt x="308317" y="27489"/>
                    <a:pt x="307314" y="26486"/>
                  </a:cubicBezTo>
                  <a:cubicBezTo>
                    <a:pt x="309320" y="27489"/>
                    <a:pt x="302299" y="27489"/>
                    <a:pt x="296282" y="28492"/>
                  </a:cubicBezTo>
                  <a:cubicBezTo>
                    <a:pt x="289261" y="29494"/>
                    <a:pt x="283244" y="31500"/>
                    <a:pt x="286252" y="30497"/>
                  </a:cubicBezTo>
                  <a:cubicBezTo>
                    <a:pt x="285249" y="30497"/>
                    <a:pt x="292270" y="28492"/>
                    <a:pt x="299291" y="27489"/>
                  </a:cubicBezTo>
                  <a:cubicBezTo>
                    <a:pt x="306311" y="27489"/>
                    <a:pt x="313332" y="26486"/>
                    <a:pt x="311326" y="26486"/>
                  </a:cubicBezTo>
                  <a:cubicBezTo>
                    <a:pt x="308317" y="25483"/>
                    <a:pt x="314335" y="24481"/>
                    <a:pt x="311326" y="23478"/>
                  </a:cubicBezTo>
                  <a:lnTo>
                    <a:pt x="307314" y="24481"/>
                  </a:lnTo>
                  <a:cubicBezTo>
                    <a:pt x="303302" y="23478"/>
                    <a:pt x="302299" y="20470"/>
                    <a:pt x="303302" y="20470"/>
                  </a:cubicBezTo>
                  <a:cubicBezTo>
                    <a:pt x="307314" y="21473"/>
                    <a:pt x="301297" y="22475"/>
                    <a:pt x="296282" y="23478"/>
                  </a:cubicBezTo>
                  <a:cubicBezTo>
                    <a:pt x="291267" y="24481"/>
                    <a:pt x="285249" y="26486"/>
                    <a:pt x="288258" y="25483"/>
                  </a:cubicBezTo>
                  <a:lnTo>
                    <a:pt x="286252" y="24481"/>
                  </a:lnTo>
                  <a:cubicBezTo>
                    <a:pt x="289261" y="24481"/>
                    <a:pt x="296282" y="23478"/>
                    <a:pt x="298288" y="25483"/>
                  </a:cubicBezTo>
                  <a:cubicBezTo>
                    <a:pt x="298288" y="24481"/>
                    <a:pt x="302299" y="24481"/>
                    <a:pt x="305308" y="24481"/>
                  </a:cubicBezTo>
                  <a:lnTo>
                    <a:pt x="306311" y="24481"/>
                  </a:lnTo>
                  <a:cubicBezTo>
                    <a:pt x="309320" y="24481"/>
                    <a:pt x="313332" y="25483"/>
                    <a:pt x="312329" y="23478"/>
                  </a:cubicBezTo>
                  <a:cubicBezTo>
                    <a:pt x="303302" y="22475"/>
                    <a:pt x="307314" y="19467"/>
                    <a:pt x="310323" y="16459"/>
                  </a:cubicBezTo>
                  <a:cubicBezTo>
                    <a:pt x="314335" y="13451"/>
                    <a:pt x="318346" y="11445"/>
                    <a:pt x="309320" y="9440"/>
                  </a:cubicBezTo>
                  <a:cubicBezTo>
                    <a:pt x="316341" y="13451"/>
                    <a:pt x="306311" y="11445"/>
                    <a:pt x="298288" y="10443"/>
                  </a:cubicBezTo>
                  <a:cubicBezTo>
                    <a:pt x="297285" y="9440"/>
                    <a:pt x="294276" y="7434"/>
                    <a:pt x="288258" y="6432"/>
                  </a:cubicBezTo>
                  <a:cubicBezTo>
                    <a:pt x="283244" y="6432"/>
                    <a:pt x="285249" y="7434"/>
                    <a:pt x="284247" y="7434"/>
                  </a:cubicBezTo>
                  <a:cubicBezTo>
                    <a:pt x="281238" y="6432"/>
                    <a:pt x="276223" y="6432"/>
                    <a:pt x="277226" y="4426"/>
                  </a:cubicBezTo>
                  <a:cubicBezTo>
                    <a:pt x="273214" y="6432"/>
                    <a:pt x="271208" y="3424"/>
                    <a:pt x="266194" y="4426"/>
                  </a:cubicBezTo>
                  <a:cubicBezTo>
                    <a:pt x="262182" y="5429"/>
                    <a:pt x="266194" y="5429"/>
                    <a:pt x="263185" y="6432"/>
                  </a:cubicBezTo>
                  <a:cubicBezTo>
                    <a:pt x="257167" y="6432"/>
                    <a:pt x="248141" y="7434"/>
                    <a:pt x="243126" y="7434"/>
                  </a:cubicBezTo>
                  <a:cubicBezTo>
                    <a:pt x="241120" y="6432"/>
                    <a:pt x="235103" y="5429"/>
                    <a:pt x="239114" y="2421"/>
                  </a:cubicBezTo>
                  <a:cubicBezTo>
                    <a:pt x="249144" y="1418"/>
                    <a:pt x="236106" y="6432"/>
                    <a:pt x="246135" y="4426"/>
                  </a:cubicBezTo>
                  <a:cubicBezTo>
                    <a:pt x="241120" y="2421"/>
                    <a:pt x="255161" y="2421"/>
                    <a:pt x="256164" y="415"/>
                  </a:cubicBezTo>
                  <a:cubicBezTo>
                    <a:pt x="253156" y="-587"/>
                    <a:pt x="246135" y="415"/>
                    <a:pt x="241120" y="1418"/>
                  </a:cubicBezTo>
                  <a:lnTo>
                    <a:pt x="242123" y="1418"/>
                  </a:lnTo>
                  <a:cubicBezTo>
                    <a:pt x="237108" y="2421"/>
                    <a:pt x="228082" y="5429"/>
                    <a:pt x="222064" y="4426"/>
                  </a:cubicBezTo>
                  <a:cubicBezTo>
                    <a:pt x="223067" y="3424"/>
                    <a:pt x="221062" y="2421"/>
                    <a:pt x="224070" y="1418"/>
                  </a:cubicBezTo>
                  <a:lnTo>
                    <a:pt x="217050" y="2421"/>
                  </a:lnTo>
                  <a:cubicBezTo>
                    <a:pt x="216047" y="3424"/>
                    <a:pt x="215044" y="3424"/>
                    <a:pt x="217050" y="3424"/>
                  </a:cubicBezTo>
                  <a:cubicBezTo>
                    <a:pt x="214041" y="5429"/>
                    <a:pt x="211032" y="5429"/>
                    <a:pt x="208023" y="5429"/>
                  </a:cubicBezTo>
                  <a:cubicBezTo>
                    <a:pt x="207020" y="5429"/>
                    <a:pt x="198997" y="8437"/>
                    <a:pt x="191976" y="13451"/>
                  </a:cubicBezTo>
                  <a:cubicBezTo>
                    <a:pt x="183953" y="17462"/>
                    <a:pt x="176932" y="22475"/>
                    <a:pt x="177935" y="22475"/>
                  </a:cubicBezTo>
                  <a:cubicBezTo>
                    <a:pt x="173924" y="24481"/>
                    <a:pt x="171918" y="23478"/>
                    <a:pt x="167906" y="26486"/>
                  </a:cubicBezTo>
                  <a:cubicBezTo>
                    <a:pt x="167906" y="26486"/>
                    <a:pt x="169912" y="25483"/>
                    <a:pt x="173924" y="23478"/>
                  </a:cubicBezTo>
                  <a:cubicBezTo>
                    <a:pt x="177935" y="21473"/>
                    <a:pt x="181947" y="18464"/>
                    <a:pt x="186962" y="15456"/>
                  </a:cubicBezTo>
                  <a:cubicBezTo>
                    <a:pt x="191976" y="13451"/>
                    <a:pt x="195988" y="10443"/>
                    <a:pt x="200000" y="8437"/>
                  </a:cubicBezTo>
                  <a:cubicBezTo>
                    <a:pt x="203009" y="7434"/>
                    <a:pt x="205015" y="6432"/>
                    <a:pt x="203009" y="6432"/>
                  </a:cubicBezTo>
                  <a:cubicBezTo>
                    <a:pt x="202006" y="6432"/>
                    <a:pt x="197994" y="7434"/>
                    <a:pt x="192979" y="10443"/>
                  </a:cubicBezTo>
                  <a:cubicBezTo>
                    <a:pt x="187965" y="12448"/>
                    <a:pt x="181947" y="16459"/>
                    <a:pt x="175929" y="19467"/>
                  </a:cubicBezTo>
                  <a:cubicBezTo>
                    <a:pt x="169912" y="22475"/>
                    <a:pt x="164897" y="26486"/>
                    <a:pt x="159882" y="29494"/>
                  </a:cubicBezTo>
                  <a:cubicBezTo>
                    <a:pt x="155871" y="32503"/>
                    <a:pt x="152862" y="34508"/>
                    <a:pt x="151859" y="34508"/>
                  </a:cubicBezTo>
                  <a:cubicBezTo>
                    <a:pt x="148850" y="36513"/>
                    <a:pt x="145841" y="39522"/>
                    <a:pt x="146844" y="39522"/>
                  </a:cubicBezTo>
                  <a:cubicBezTo>
                    <a:pt x="141829" y="42530"/>
                    <a:pt x="146844" y="36513"/>
                    <a:pt x="142832" y="38519"/>
                  </a:cubicBezTo>
                  <a:cubicBezTo>
                    <a:pt x="142832" y="38519"/>
                    <a:pt x="143835" y="38519"/>
                    <a:pt x="141829" y="39522"/>
                  </a:cubicBezTo>
                  <a:cubicBezTo>
                    <a:pt x="140827" y="39522"/>
                    <a:pt x="138821" y="40524"/>
                    <a:pt x="137818" y="40524"/>
                  </a:cubicBezTo>
                  <a:cubicBezTo>
                    <a:pt x="134809" y="44535"/>
                    <a:pt x="129794" y="47543"/>
                    <a:pt x="124780" y="50552"/>
                  </a:cubicBezTo>
                  <a:cubicBezTo>
                    <a:pt x="120768" y="54563"/>
                    <a:pt x="115753" y="58573"/>
                    <a:pt x="112744" y="62584"/>
                  </a:cubicBezTo>
                  <a:cubicBezTo>
                    <a:pt x="113747" y="59576"/>
                    <a:pt x="114750" y="55565"/>
                    <a:pt x="118762" y="50552"/>
                  </a:cubicBezTo>
                  <a:lnTo>
                    <a:pt x="119765" y="50552"/>
                  </a:lnTo>
                  <a:cubicBezTo>
                    <a:pt x="119765" y="49549"/>
                    <a:pt x="123777" y="45538"/>
                    <a:pt x="122774" y="45538"/>
                  </a:cubicBezTo>
                  <a:cubicBezTo>
                    <a:pt x="117759" y="48546"/>
                    <a:pt x="113747" y="52557"/>
                    <a:pt x="109736" y="57571"/>
                  </a:cubicBezTo>
                  <a:cubicBezTo>
                    <a:pt x="108733" y="58573"/>
                    <a:pt x="107730" y="58573"/>
                    <a:pt x="106727" y="59576"/>
                  </a:cubicBezTo>
                  <a:cubicBezTo>
                    <a:pt x="106727" y="59576"/>
                    <a:pt x="106727" y="59576"/>
                    <a:pt x="106727" y="59576"/>
                  </a:cubicBezTo>
                  <a:cubicBezTo>
                    <a:pt x="104721" y="60579"/>
                    <a:pt x="104721" y="60579"/>
                    <a:pt x="104721" y="59576"/>
                  </a:cubicBezTo>
                  <a:cubicBezTo>
                    <a:pt x="104721" y="59576"/>
                    <a:pt x="104721" y="59576"/>
                    <a:pt x="104721" y="58573"/>
                  </a:cubicBezTo>
                  <a:cubicBezTo>
                    <a:pt x="101712" y="58573"/>
                    <a:pt x="98703" y="63587"/>
                    <a:pt x="93689" y="68601"/>
                  </a:cubicBezTo>
                  <a:cubicBezTo>
                    <a:pt x="89677" y="74617"/>
                    <a:pt x="84662" y="80633"/>
                    <a:pt x="80650" y="84644"/>
                  </a:cubicBezTo>
                  <a:cubicBezTo>
                    <a:pt x="78645" y="87652"/>
                    <a:pt x="80650" y="85647"/>
                    <a:pt x="78645" y="88655"/>
                  </a:cubicBezTo>
                  <a:cubicBezTo>
                    <a:pt x="70621" y="96677"/>
                    <a:pt x="65606" y="102693"/>
                    <a:pt x="58586" y="112721"/>
                  </a:cubicBezTo>
                  <a:cubicBezTo>
                    <a:pt x="57583" y="116732"/>
                    <a:pt x="58586" y="117734"/>
                    <a:pt x="61595" y="113723"/>
                  </a:cubicBezTo>
                  <a:lnTo>
                    <a:pt x="56580" y="121745"/>
                  </a:lnTo>
                  <a:cubicBezTo>
                    <a:pt x="56580" y="117734"/>
                    <a:pt x="53571" y="120742"/>
                    <a:pt x="51565" y="123751"/>
                  </a:cubicBezTo>
                  <a:cubicBezTo>
                    <a:pt x="48556" y="126759"/>
                    <a:pt x="46550" y="129767"/>
                    <a:pt x="46550" y="124753"/>
                  </a:cubicBezTo>
                  <a:cubicBezTo>
                    <a:pt x="44545" y="126759"/>
                    <a:pt x="41536" y="131772"/>
                    <a:pt x="40533" y="136786"/>
                  </a:cubicBezTo>
                  <a:cubicBezTo>
                    <a:pt x="41536" y="137789"/>
                    <a:pt x="42539" y="138792"/>
                    <a:pt x="39530" y="144808"/>
                  </a:cubicBezTo>
                  <a:cubicBezTo>
                    <a:pt x="34515" y="152830"/>
                    <a:pt x="35518" y="150824"/>
                    <a:pt x="31506" y="156841"/>
                  </a:cubicBezTo>
                  <a:cubicBezTo>
                    <a:pt x="29501" y="157843"/>
                    <a:pt x="30504" y="154835"/>
                    <a:pt x="29501" y="154835"/>
                  </a:cubicBezTo>
                  <a:cubicBezTo>
                    <a:pt x="27495" y="165865"/>
                    <a:pt x="23483" y="162857"/>
                    <a:pt x="19471" y="173887"/>
                  </a:cubicBezTo>
                  <a:cubicBezTo>
                    <a:pt x="17465" y="180906"/>
                    <a:pt x="14457" y="193941"/>
                    <a:pt x="16462" y="194944"/>
                  </a:cubicBezTo>
                  <a:cubicBezTo>
                    <a:pt x="20474" y="208982"/>
                    <a:pt x="18468" y="208982"/>
                    <a:pt x="17465" y="206977"/>
                  </a:cubicBezTo>
                  <a:close/>
                </a:path>
              </a:pathLst>
            </a:custGeom>
            <a:solidFill>
              <a:srgbClr val="154573"/>
            </a:solidFill>
            <a:ln w="100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 sz="1800"/>
            </a:p>
          </p:txBody>
        </p:sp>
      </p:grpSp>
      <p:grpSp>
        <p:nvGrpSpPr>
          <p:cNvPr id="24" name="Gruppe 23">
            <a:extLst>
              <a:ext uri="{FF2B5EF4-FFF2-40B4-BE49-F238E27FC236}">
                <a16:creationId xmlns:a16="http://schemas.microsoft.com/office/drawing/2014/main" id="{E6FEDFEE-F7B0-4148-A7EE-36285E92E9DE}"/>
              </a:ext>
            </a:extLst>
          </p:cNvPr>
          <p:cNvGrpSpPr/>
          <p:nvPr userDrawn="1"/>
        </p:nvGrpSpPr>
        <p:grpSpPr>
          <a:xfrm>
            <a:off x="1308673" y="3833454"/>
            <a:ext cx="627481" cy="870110"/>
            <a:chOff x="2960374" y="4076697"/>
            <a:chExt cx="627481" cy="870110"/>
          </a:xfrm>
        </p:grpSpPr>
        <p:sp>
          <p:nvSpPr>
            <p:cNvPr id="14" name="Tekstfelt 13">
              <a:extLst>
                <a:ext uri="{FF2B5EF4-FFF2-40B4-BE49-F238E27FC236}">
                  <a16:creationId xmlns:a16="http://schemas.microsoft.com/office/drawing/2014/main" id="{127A65BA-C169-D54B-B96E-F56314E0BB16}"/>
                </a:ext>
              </a:extLst>
            </p:cNvPr>
            <p:cNvSpPr txBox="1"/>
            <p:nvPr/>
          </p:nvSpPr>
          <p:spPr>
            <a:xfrm>
              <a:off x="3074573" y="4076697"/>
              <a:ext cx="513282" cy="87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da-DK" sz="5054" spc="0" baseline="0">
                  <a:solidFill>
                    <a:srgbClr val="154573"/>
                  </a:solidFill>
                  <a:latin typeface="Manus"/>
                  <a:sym typeface="Manus"/>
                  <a:rtl val="0"/>
                </a:rPr>
                <a:t>3</a:t>
              </a:r>
            </a:p>
          </p:txBody>
        </p:sp>
        <p:sp>
          <p:nvSpPr>
            <p:cNvPr id="20" name="Kombinationstegning 19">
              <a:extLst>
                <a:ext uri="{FF2B5EF4-FFF2-40B4-BE49-F238E27FC236}">
                  <a16:creationId xmlns:a16="http://schemas.microsoft.com/office/drawing/2014/main" id="{6EB7399E-C2DB-DD4F-B1F2-9C7FFD133BBE}"/>
                </a:ext>
              </a:extLst>
            </p:cNvPr>
            <p:cNvSpPr/>
            <p:nvPr/>
          </p:nvSpPr>
          <p:spPr>
            <a:xfrm>
              <a:off x="2960374" y="4178700"/>
              <a:ext cx="572724" cy="608067"/>
            </a:xfrm>
            <a:custGeom>
              <a:avLst/>
              <a:gdLst>
                <a:gd name="connsiteX0" fmla="*/ 17465 w 572724"/>
                <a:gd name="connsiteY0" fmla="*/ 206977 h 608067"/>
                <a:gd name="connsiteX1" fmla="*/ 15459 w 572724"/>
                <a:gd name="connsiteY1" fmla="*/ 213996 h 608067"/>
                <a:gd name="connsiteX2" fmla="*/ 40533 w 572724"/>
                <a:gd name="connsiteY2" fmla="*/ 142802 h 608067"/>
                <a:gd name="connsiteX3" fmla="*/ 6433 w 572724"/>
                <a:gd name="connsiteY3" fmla="*/ 223021 h 608067"/>
                <a:gd name="connsiteX4" fmla="*/ 8439 w 572724"/>
                <a:gd name="connsiteY4" fmla="*/ 300230 h 608067"/>
                <a:gd name="connsiteX5" fmla="*/ 415 w 572724"/>
                <a:gd name="connsiteY5" fmla="*/ 331315 h 608067"/>
                <a:gd name="connsiteX6" fmla="*/ 1418 w 572724"/>
                <a:gd name="connsiteY6" fmla="*/ 359391 h 608067"/>
                <a:gd name="connsiteX7" fmla="*/ 10445 w 572724"/>
                <a:gd name="connsiteY7" fmla="*/ 392481 h 608067"/>
                <a:gd name="connsiteX8" fmla="*/ 4427 w 572724"/>
                <a:gd name="connsiteY8" fmla="*/ 369418 h 608067"/>
                <a:gd name="connsiteX9" fmla="*/ 10445 w 572724"/>
                <a:gd name="connsiteY9" fmla="*/ 392481 h 608067"/>
                <a:gd name="connsiteX10" fmla="*/ 29501 w 572724"/>
                <a:gd name="connsiteY10" fmla="*/ 445626 h 608067"/>
                <a:gd name="connsiteX11" fmla="*/ 60592 w 572724"/>
                <a:gd name="connsiteY11" fmla="*/ 496765 h 608067"/>
                <a:gd name="connsiteX12" fmla="*/ 156874 w 572724"/>
                <a:gd name="connsiteY12" fmla="*/ 569964 h 608067"/>
                <a:gd name="connsiteX13" fmla="*/ 257167 w 572724"/>
                <a:gd name="connsiteY13" fmla="*/ 601048 h 608067"/>
                <a:gd name="connsiteX14" fmla="*/ 317343 w 572724"/>
                <a:gd name="connsiteY14" fmla="*/ 608067 h 608067"/>
                <a:gd name="connsiteX15" fmla="*/ 364482 w 572724"/>
                <a:gd name="connsiteY15" fmla="*/ 607064 h 608067"/>
                <a:gd name="connsiteX16" fmla="*/ 385543 w 572724"/>
                <a:gd name="connsiteY16" fmla="*/ 604056 h 608067"/>
                <a:gd name="connsiteX17" fmla="*/ 362476 w 572724"/>
                <a:gd name="connsiteY17" fmla="*/ 606062 h 608067"/>
                <a:gd name="connsiteX18" fmla="*/ 438699 w 572724"/>
                <a:gd name="connsiteY18" fmla="*/ 578988 h 608067"/>
                <a:gd name="connsiteX19" fmla="*/ 422652 w 572724"/>
                <a:gd name="connsiteY19" fmla="*/ 580994 h 608067"/>
                <a:gd name="connsiteX20" fmla="*/ 434687 w 572724"/>
                <a:gd name="connsiteY20" fmla="*/ 576983 h 608067"/>
                <a:gd name="connsiteX21" fmla="*/ 476810 w 572724"/>
                <a:gd name="connsiteY21" fmla="*/ 546901 h 608067"/>
                <a:gd name="connsiteX22" fmla="*/ 490852 w 572724"/>
                <a:gd name="connsiteY22" fmla="*/ 537876 h 608067"/>
                <a:gd name="connsiteX23" fmla="*/ 487843 w 572724"/>
                <a:gd name="connsiteY23" fmla="*/ 538879 h 608067"/>
                <a:gd name="connsiteX24" fmla="*/ 521942 w 572724"/>
                <a:gd name="connsiteY24" fmla="*/ 498770 h 608067"/>
                <a:gd name="connsiteX25" fmla="*/ 543004 w 572724"/>
                <a:gd name="connsiteY25" fmla="*/ 454650 h 608067"/>
                <a:gd name="connsiteX26" fmla="*/ 547016 w 572724"/>
                <a:gd name="connsiteY26" fmla="*/ 446628 h 608067"/>
                <a:gd name="connsiteX27" fmla="*/ 553034 w 572724"/>
                <a:gd name="connsiteY27" fmla="*/ 419555 h 608067"/>
                <a:gd name="connsiteX28" fmla="*/ 559051 w 572724"/>
                <a:gd name="connsiteY28" fmla="*/ 411533 h 608067"/>
                <a:gd name="connsiteX29" fmla="*/ 566072 w 572724"/>
                <a:gd name="connsiteY29" fmla="*/ 352372 h 608067"/>
                <a:gd name="connsiteX30" fmla="*/ 571087 w 572724"/>
                <a:gd name="connsiteY30" fmla="*/ 246083 h 608067"/>
                <a:gd name="connsiteX31" fmla="*/ 528963 w 572724"/>
                <a:gd name="connsiteY31" fmla="*/ 144808 h 608067"/>
                <a:gd name="connsiteX32" fmla="*/ 528963 w 572724"/>
                <a:gd name="connsiteY32" fmla="*/ 146813 h 608067"/>
                <a:gd name="connsiteX33" fmla="*/ 469790 w 572724"/>
                <a:gd name="connsiteY33" fmla="*/ 96677 h 608067"/>
                <a:gd name="connsiteX34" fmla="*/ 437696 w 572724"/>
                <a:gd name="connsiteY34" fmla="*/ 83642 h 608067"/>
                <a:gd name="connsiteX35" fmla="*/ 422652 w 572724"/>
                <a:gd name="connsiteY35" fmla="*/ 80633 h 608067"/>
                <a:gd name="connsiteX36" fmla="*/ 412622 w 572724"/>
                <a:gd name="connsiteY36" fmla="*/ 80633 h 608067"/>
                <a:gd name="connsiteX37" fmla="*/ 397578 w 572724"/>
                <a:gd name="connsiteY37" fmla="*/ 77625 h 608067"/>
                <a:gd name="connsiteX38" fmla="*/ 384540 w 572724"/>
                <a:gd name="connsiteY38" fmla="*/ 76623 h 608067"/>
                <a:gd name="connsiteX39" fmla="*/ 372505 w 572724"/>
                <a:gd name="connsiteY39" fmla="*/ 76623 h 608067"/>
                <a:gd name="connsiteX40" fmla="*/ 357461 w 572724"/>
                <a:gd name="connsiteY40" fmla="*/ 77625 h 608067"/>
                <a:gd name="connsiteX41" fmla="*/ 350441 w 572724"/>
                <a:gd name="connsiteY41" fmla="*/ 80633 h 608067"/>
                <a:gd name="connsiteX42" fmla="*/ 347432 w 572724"/>
                <a:gd name="connsiteY42" fmla="*/ 82639 h 608067"/>
                <a:gd name="connsiteX43" fmla="*/ 374511 w 572724"/>
                <a:gd name="connsiteY43" fmla="*/ 85647 h 608067"/>
                <a:gd name="connsiteX44" fmla="*/ 374511 w 572724"/>
                <a:gd name="connsiteY44" fmla="*/ 84644 h 608067"/>
                <a:gd name="connsiteX45" fmla="*/ 451737 w 572724"/>
                <a:gd name="connsiteY45" fmla="*/ 115729 h 608067"/>
                <a:gd name="connsiteX46" fmla="*/ 507901 w 572724"/>
                <a:gd name="connsiteY46" fmla="*/ 175892 h 608067"/>
                <a:gd name="connsiteX47" fmla="*/ 528963 w 572724"/>
                <a:gd name="connsiteY47" fmla="*/ 228034 h 608067"/>
                <a:gd name="connsiteX48" fmla="*/ 531972 w 572724"/>
                <a:gd name="connsiteY48" fmla="*/ 288198 h 608067"/>
                <a:gd name="connsiteX49" fmla="*/ 524951 w 572724"/>
                <a:gd name="connsiteY49" fmla="*/ 357386 h 608067"/>
                <a:gd name="connsiteX50" fmla="*/ 513919 w 572724"/>
                <a:gd name="connsiteY50" fmla="*/ 420557 h 608067"/>
                <a:gd name="connsiteX51" fmla="*/ 503890 w 572724"/>
                <a:gd name="connsiteY51" fmla="*/ 441615 h 608067"/>
                <a:gd name="connsiteX52" fmla="*/ 477813 w 572724"/>
                <a:gd name="connsiteY52" fmla="*/ 489746 h 608067"/>
                <a:gd name="connsiteX53" fmla="*/ 434687 w 572724"/>
                <a:gd name="connsiteY53" fmla="*/ 527849 h 608067"/>
                <a:gd name="connsiteX54" fmla="*/ 436693 w 572724"/>
                <a:gd name="connsiteY54" fmla="*/ 526846 h 608067"/>
                <a:gd name="connsiteX55" fmla="*/ 385543 w 572724"/>
                <a:gd name="connsiteY55" fmla="*/ 545898 h 608067"/>
                <a:gd name="connsiteX56" fmla="*/ 381531 w 572724"/>
                <a:gd name="connsiteY56" fmla="*/ 547904 h 608067"/>
                <a:gd name="connsiteX57" fmla="*/ 361473 w 572724"/>
                <a:gd name="connsiteY57" fmla="*/ 550912 h 608067"/>
                <a:gd name="connsiteX58" fmla="*/ 320352 w 572724"/>
                <a:gd name="connsiteY58" fmla="*/ 556928 h 608067"/>
                <a:gd name="connsiteX59" fmla="*/ 254159 w 572724"/>
                <a:gd name="connsiteY59" fmla="*/ 553920 h 608067"/>
                <a:gd name="connsiteX60" fmla="*/ 247138 w 572724"/>
                <a:gd name="connsiteY60" fmla="*/ 552917 h 608067"/>
                <a:gd name="connsiteX61" fmla="*/ 184956 w 572724"/>
                <a:gd name="connsiteY61" fmla="*/ 529855 h 608067"/>
                <a:gd name="connsiteX62" fmla="*/ 133806 w 572724"/>
                <a:gd name="connsiteY62" fmla="*/ 500776 h 608067"/>
                <a:gd name="connsiteX63" fmla="*/ 112744 w 572724"/>
                <a:gd name="connsiteY63" fmla="*/ 490748 h 608067"/>
                <a:gd name="connsiteX64" fmla="*/ 100709 w 572724"/>
                <a:gd name="connsiteY64" fmla="*/ 480721 h 608067"/>
                <a:gd name="connsiteX65" fmla="*/ 87671 w 572724"/>
                <a:gd name="connsiteY65" fmla="*/ 464677 h 608067"/>
                <a:gd name="connsiteX66" fmla="*/ 64604 w 572724"/>
                <a:gd name="connsiteY66" fmla="*/ 425571 h 608067"/>
                <a:gd name="connsiteX67" fmla="*/ 56580 w 572724"/>
                <a:gd name="connsiteY67" fmla="*/ 407522 h 608067"/>
                <a:gd name="connsiteX68" fmla="*/ 55577 w 572724"/>
                <a:gd name="connsiteY68" fmla="*/ 395489 h 608067"/>
                <a:gd name="connsiteX69" fmla="*/ 51565 w 572724"/>
                <a:gd name="connsiteY69" fmla="*/ 369418 h 608067"/>
                <a:gd name="connsiteX70" fmla="*/ 47553 w 572724"/>
                <a:gd name="connsiteY70" fmla="*/ 347358 h 608067"/>
                <a:gd name="connsiteX71" fmla="*/ 43542 w 572724"/>
                <a:gd name="connsiteY71" fmla="*/ 325299 h 608067"/>
                <a:gd name="connsiteX72" fmla="*/ 43542 w 572724"/>
                <a:gd name="connsiteY72" fmla="*/ 328307 h 608067"/>
                <a:gd name="connsiteX73" fmla="*/ 48556 w 572724"/>
                <a:gd name="connsiteY73" fmla="*/ 280176 h 608067"/>
                <a:gd name="connsiteX74" fmla="*/ 61595 w 572724"/>
                <a:gd name="connsiteY74" fmla="*/ 205974 h 608067"/>
                <a:gd name="connsiteX75" fmla="*/ 89677 w 572724"/>
                <a:gd name="connsiteY75" fmla="*/ 139794 h 608067"/>
                <a:gd name="connsiteX76" fmla="*/ 82656 w 572724"/>
                <a:gd name="connsiteY76" fmla="*/ 147816 h 608067"/>
                <a:gd name="connsiteX77" fmla="*/ 132803 w 572724"/>
                <a:gd name="connsiteY77" fmla="*/ 87652 h 608067"/>
                <a:gd name="connsiteX78" fmla="*/ 143835 w 572724"/>
                <a:gd name="connsiteY78" fmla="*/ 81636 h 608067"/>
                <a:gd name="connsiteX79" fmla="*/ 151859 w 572724"/>
                <a:gd name="connsiteY79" fmla="*/ 74617 h 608067"/>
                <a:gd name="connsiteX80" fmla="*/ 153865 w 572724"/>
                <a:gd name="connsiteY80" fmla="*/ 75620 h 608067"/>
                <a:gd name="connsiteX81" fmla="*/ 171918 w 572724"/>
                <a:gd name="connsiteY81" fmla="*/ 64590 h 608067"/>
                <a:gd name="connsiteX82" fmla="*/ 176932 w 572724"/>
                <a:gd name="connsiteY82" fmla="*/ 60579 h 608067"/>
                <a:gd name="connsiteX83" fmla="*/ 184956 w 572724"/>
                <a:gd name="connsiteY83" fmla="*/ 58573 h 608067"/>
                <a:gd name="connsiteX84" fmla="*/ 184956 w 572724"/>
                <a:gd name="connsiteY84" fmla="*/ 58573 h 608067"/>
                <a:gd name="connsiteX85" fmla="*/ 189971 w 572724"/>
                <a:gd name="connsiteY85" fmla="*/ 56568 h 608067"/>
                <a:gd name="connsiteX86" fmla="*/ 206017 w 572724"/>
                <a:gd name="connsiteY86" fmla="*/ 45538 h 608067"/>
                <a:gd name="connsiteX87" fmla="*/ 223067 w 572724"/>
                <a:gd name="connsiteY87" fmla="*/ 35511 h 608067"/>
                <a:gd name="connsiteX88" fmla="*/ 225073 w 572724"/>
                <a:gd name="connsiteY88" fmla="*/ 35511 h 608067"/>
                <a:gd name="connsiteX89" fmla="*/ 228082 w 572724"/>
                <a:gd name="connsiteY89" fmla="*/ 32503 h 608067"/>
                <a:gd name="connsiteX90" fmla="*/ 234100 w 572724"/>
                <a:gd name="connsiteY90" fmla="*/ 31500 h 608067"/>
                <a:gd name="connsiteX91" fmla="*/ 233097 w 572724"/>
                <a:gd name="connsiteY91" fmla="*/ 31500 h 608067"/>
                <a:gd name="connsiteX92" fmla="*/ 239114 w 572724"/>
                <a:gd name="connsiteY92" fmla="*/ 30497 h 608067"/>
                <a:gd name="connsiteX93" fmla="*/ 240117 w 572724"/>
                <a:gd name="connsiteY93" fmla="*/ 32503 h 608067"/>
                <a:gd name="connsiteX94" fmla="*/ 250147 w 572724"/>
                <a:gd name="connsiteY94" fmla="*/ 30497 h 608067"/>
                <a:gd name="connsiteX95" fmla="*/ 219056 w 572724"/>
                <a:gd name="connsiteY95" fmla="*/ 31500 h 608067"/>
                <a:gd name="connsiteX96" fmla="*/ 234100 w 572724"/>
                <a:gd name="connsiteY96" fmla="*/ 27489 h 608067"/>
                <a:gd name="connsiteX97" fmla="*/ 245132 w 572724"/>
                <a:gd name="connsiteY97" fmla="*/ 27489 h 608067"/>
                <a:gd name="connsiteX98" fmla="*/ 258170 w 572724"/>
                <a:gd name="connsiteY98" fmla="*/ 27489 h 608067"/>
                <a:gd name="connsiteX99" fmla="*/ 265191 w 572724"/>
                <a:gd name="connsiteY99" fmla="*/ 25483 h 608067"/>
                <a:gd name="connsiteX100" fmla="*/ 273214 w 572724"/>
                <a:gd name="connsiteY100" fmla="*/ 26486 h 608067"/>
                <a:gd name="connsiteX101" fmla="*/ 261179 w 572724"/>
                <a:gd name="connsiteY101" fmla="*/ 27489 h 608067"/>
                <a:gd name="connsiteX102" fmla="*/ 266194 w 572724"/>
                <a:gd name="connsiteY102" fmla="*/ 28492 h 608067"/>
                <a:gd name="connsiteX103" fmla="*/ 273214 w 572724"/>
                <a:gd name="connsiteY103" fmla="*/ 28492 h 608067"/>
                <a:gd name="connsiteX104" fmla="*/ 287255 w 572724"/>
                <a:gd name="connsiteY104" fmla="*/ 28492 h 608067"/>
                <a:gd name="connsiteX105" fmla="*/ 293273 w 572724"/>
                <a:gd name="connsiteY105" fmla="*/ 31500 h 608067"/>
                <a:gd name="connsiteX106" fmla="*/ 297285 w 572724"/>
                <a:gd name="connsiteY106" fmla="*/ 30497 h 608067"/>
                <a:gd name="connsiteX107" fmla="*/ 289261 w 572724"/>
                <a:gd name="connsiteY107" fmla="*/ 25483 h 608067"/>
                <a:gd name="connsiteX108" fmla="*/ 300294 w 572724"/>
                <a:gd name="connsiteY108" fmla="*/ 27489 h 608067"/>
                <a:gd name="connsiteX109" fmla="*/ 300294 w 572724"/>
                <a:gd name="connsiteY109" fmla="*/ 25483 h 608067"/>
                <a:gd name="connsiteX110" fmla="*/ 310323 w 572724"/>
                <a:gd name="connsiteY110" fmla="*/ 27489 h 608067"/>
                <a:gd name="connsiteX111" fmla="*/ 307314 w 572724"/>
                <a:gd name="connsiteY111" fmla="*/ 26486 h 608067"/>
                <a:gd name="connsiteX112" fmla="*/ 296282 w 572724"/>
                <a:gd name="connsiteY112" fmla="*/ 28492 h 608067"/>
                <a:gd name="connsiteX113" fmla="*/ 286252 w 572724"/>
                <a:gd name="connsiteY113" fmla="*/ 30497 h 608067"/>
                <a:gd name="connsiteX114" fmla="*/ 299291 w 572724"/>
                <a:gd name="connsiteY114" fmla="*/ 27489 h 608067"/>
                <a:gd name="connsiteX115" fmla="*/ 311326 w 572724"/>
                <a:gd name="connsiteY115" fmla="*/ 26486 h 608067"/>
                <a:gd name="connsiteX116" fmla="*/ 311326 w 572724"/>
                <a:gd name="connsiteY116" fmla="*/ 23478 h 608067"/>
                <a:gd name="connsiteX117" fmla="*/ 307314 w 572724"/>
                <a:gd name="connsiteY117" fmla="*/ 24481 h 608067"/>
                <a:gd name="connsiteX118" fmla="*/ 303302 w 572724"/>
                <a:gd name="connsiteY118" fmla="*/ 20470 h 608067"/>
                <a:gd name="connsiteX119" fmla="*/ 296282 w 572724"/>
                <a:gd name="connsiteY119" fmla="*/ 23478 h 608067"/>
                <a:gd name="connsiteX120" fmla="*/ 288258 w 572724"/>
                <a:gd name="connsiteY120" fmla="*/ 25483 h 608067"/>
                <a:gd name="connsiteX121" fmla="*/ 286252 w 572724"/>
                <a:gd name="connsiteY121" fmla="*/ 24481 h 608067"/>
                <a:gd name="connsiteX122" fmla="*/ 298288 w 572724"/>
                <a:gd name="connsiteY122" fmla="*/ 25483 h 608067"/>
                <a:gd name="connsiteX123" fmla="*/ 305308 w 572724"/>
                <a:gd name="connsiteY123" fmla="*/ 24481 h 608067"/>
                <a:gd name="connsiteX124" fmla="*/ 306311 w 572724"/>
                <a:gd name="connsiteY124" fmla="*/ 24481 h 608067"/>
                <a:gd name="connsiteX125" fmla="*/ 312329 w 572724"/>
                <a:gd name="connsiteY125" fmla="*/ 23478 h 608067"/>
                <a:gd name="connsiteX126" fmla="*/ 310323 w 572724"/>
                <a:gd name="connsiteY126" fmla="*/ 16459 h 608067"/>
                <a:gd name="connsiteX127" fmla="*/ 309320 w 572724"/>
                <a:gd name="connsiteY127" fmla="*/ 9440 h 608067"/>
                <a:gd name="connsiteX128" fmla="*/ 298288 w 572724"/>
                <a:gd name="connsiteY128" fmla="*/ 10443 h 608067"/>
                <a:gd name="connsiteX129" fmla="*/ 288258 w 572724"/>
                <a:gd name="connsiteY129" fmla="*/ 6432 h 608067"/>
                <a:gd name="connsiteX130" fmla="*/ 284247 w 572724"/>
                <a:gd name="connsiteY130" fmla="*/ 7434 h 608067"/>
                <a:gd name="connsiteX131" fmla="*/ 277226 w 572724"/>
                <a:gd name="connsiteY131" fmla="*/ 4426 h 608067"/>
                <a:gd name="connsiteX132" fmla="*/ 266194 w 572724"/>
                <a:gd name="connsiteY132" fmla="*/ 4426 h 608067"/>
                <a:gd name="connsiteX133" fmla="*/ 263185 w 572724"/>
                <a:gd name="connsiteY133" fmla="*/ 6432 h 608067"/>
                <a:gd name="connsiteX134" fmla="*/ 243126 w 572724"/>
                <a:gd name="connsiteY134" fmla="*/ 7434 h 608067"/>
                <a:gd name="connsiteX135" fmla="*/ 239114 w 572724"/>
                <a:gd name="connsiteY135" fmla="*/ 2421 h 608067"/>
                <a:gd name="connsiteX136" fmla="*/ 246135 w 572724"/>
                <a:gd name="connsiteY136" fmla="*/ 4426 h 608067"/>
                <a:gd name="connsiteX137" fmla="*/ 256164 w 572724"/>
                <a:gd name="connsiteY137" fmla="*/ 415 h 608067"/>
                <a:gd name="connsiteX138" fmla="*/ 241120 w 572724"/>
                <a:gd name="connsiteY138" fmla="*/ 1418 h 608067"/>
                <a:gd name="connsiteX139" fmla="*/ 242123 w 572724"/>
                <a:gd name="connsiteY139" fmla="*/ 1418 h 608067"/>
                <a:gd name="connsiteX140" fmla="*/ 222064 w 572724"/>
                <a:gd name="connsiteY140" fmla="*/ 4426 h 608067"/>
                <a:gd name="connsiteX141" fmla="*/ 224070 w 572724"/>
                <a:gd name="connsiteY141" fmla="*/ 1418 h 608067"/>
                <a:gd name="connsiteX142" fmla="*/ 217050 w 572724"/>
                <a:gd name="connsiteY142" fmla="*/ 2421 h 608067"/>
                <a:gd name="connsiteX143" fmla="*/ 217050 w 572724"/>
                <a:gd name="connsiteY143" fmla="*/ 3424 h 608067"/>
                <a:gd name="connsiteX144" fmla="*/ 208023 w 572724"/>
                <a:gd name="connsiteY144" fmla="*/ 5429 h 608067"/>
                <a:gd name="connsiteX145" fmla="*/ 191976 w 572724"/>
                <a:gd name="connsiteY145" fmla="*/ 13451 h 608067"/>
                <a:gd name="connsiteX146" fmla="*/ 177935 w 572724"/>
                <a:gd name="connsiteY146" fmla="*/ 22475 h 608067"/>
                <a:gd name="connsiteX147" fmla="*/ 167906 w 572724"/>
                <a:gd name="connsiteY147" fmla="*/ 26486 h 608067"/>
                <a:gd name="connsiteX148" fmla="*/ 173924 w 572724"/>
                <a:gd name="connsiteY148" fmla="*/ 23478 h 608067"/>
                <a:gd name="connsiteX149" fmla="*/ 186962 w 572724"/>
                <a:gd name="connsiteY149" fmla="*/ 15456 h 608067"/>
                <a:gd name="connsiteX150" fmla="*/ 200000 w 572724"/>
                <a:gd name="connsiteY150" fmla="*/ 8437 h 608067"/>
                <a:gd name="connsiteX151" fmla="*/ 203009 w 572724"/>
                <a:gd name="connsiteY151" fmla="*/ 6432 h 608067"/>
                <a:gd name="connsiteX152" fmla="*/ 192979 w 572724"/>
                <a:gd name="connsiteY152" fmla="*/ 10443 h 608067"/>
                <a:gd name="connsiteX153" fmla="*/ 175929 w 572724"/>
                <a:gd name="connsiteY153" fmla="*/ 19467 h 608067"/>
                <a:gd name="connsiteX154" fmla="*/ 159883 w 572724"/>
                <a:gd name="connsiteY154" fmla="*/ 29494 h 608067"/>
                <a:gd name="connsiteX155" fmla="*/ 151859 w 572724"/>
                <a:gd name="connsiteY155" fmla="*/ 34508 h 608067"/>
                <a:gd name="connsiteX156" fmla="*/ 146844 w 572724"/>
                <a:gd name="connsiteY156" fmla="*/ 39522 h 608067"/>
                <a:gd name="connsiteX157" fmla="*/ 142832 w 572724"/>
                <a:gd name="connsiteY157" fmla="*/ 38519 h 608067"/>
                <a:gd name="connsiteX158" fmla="*/ 141829 w 572724"/>
                <a:gd name="connsiteY158" fmla="*/ 39522 h 608067"/>
                <a:gd name="connsiteX159" fmla="*/ 137818 w 572724"/>
                <a:gd name="connsiteY159" fmla="*/ 40524 h 608067"/>
                <a:gd name="connsiteX160" fmla="*/ 124780 w 572724"/>
                <a:gd name="connsiteY160" fmla="*/ 50552 h 608067"/>
                <a:gd name="connsiteX161" fmla="*/ 112744 w 572724"/>
                <a:gd name="connsiteY161" fmla="*/ 62584 h 608067"/>
                <a:gd name="connsiteX162" fmla="*/ 118762 w 572724"/>
                <a:gd name="connsiteY162" fmla="*/ 50552 h 608067"/>
                <a:gd name="connsiteX163" fmla="*/ 119765 w 572724"/>
                <a:gd name="connsiteY163" fmla="*/ 50552 h 608067"/>
                <a:gd name="connsiteX164" fmla="*/ 122774 w 572724"/>
                <a:gd name="connsiteY164" fmla="*/ 45538 h 608067"/>
                <a:gd name="connsiteX165" fmla="*/ 109736 w 572724"/>
                <a:gd name="connsiteY165" fmla="*/ 57571 h 608067"/>
                <a:gd name="connsiteX166" fmla="*/ 106727 w 572724"/>
                <a:gd name="connsiteY166" fmla="*/ 59576 h 608067"/>
                <a:gd name="connsiteX167" fmla="*/ 106727 w 572724"/>
                <a:gd name="connsiteY167" fmla="*/ 59576 h 608067"/>
                <a:gd name="connsiteX168" fmla="*/ 104721 w 572724"/>
                <a:gd name="connsiteY168" fmla="*/ 59576 h 608067"/>
                <a:gd name="connsiteX169" fmla="*/ 104721 w 572724"/>
                <a:gd name="connsiteY169" fmla="*/ 58573 h 608067"/>
                <a:gd name="connsiteX170" fmla="*/ 93689 w 572724"/>
                <a:gd name="connsiteY170" fmla="*/ 68601 h 608067"/>
                <a:gd name="connsiteX171" fmla="*/ 80650 w 572724"/>
                <a:gd name="connsiteY171" fmla="*/ 84644 h 608067"/>
                <a:gd name="connsiteX172" fmla="*/ 78645 w 572724"/>
                <a:gd name="connsiteY172" fmla="*/ 88655 h 608067"/>
                <a:gd name="connsiteX173" fmla="*/ 58586 w 572724"/>
                <a:gd name="connsiteY173" fmla="*/ 112721 h 608067"/>
                <a:gd name="connsiteX174" fmla="*/ 61595 w 572724"/>
                <a:gd name="connsiteY174" fmla="*/ 113723 h 608067"/>
                <a:gd name="connsiteX175" fmla="*/ 56580 w 572724"/>
                <a:gd name="connsiteY175" fmla="*/ 121745 h 608067"/>
                <a:gd name="connsiteX176" fmla="*/ 51565 w 572724"/>
                <a:gd name="connsiteY176" fmla="*/ 123751 h 608067"/>
                <a:gd name="connsiteX177" fmla="*/ 46550 w 572724"/>
                <a:gd name="connsiteY177" fmla="*/ 124753 h 608067"/>
                <a:gd name="connsiteX178" fmla="*/ 40533 w 572724"/>
                <a:gd name="connsiteY178" fmla="*/ 136786 h 608067"/>
                <a:gd name="connsiteX179" fmla="*/ 39530 w 572724"/>
                <a:gd name="connsiteY179" fmla="*/ 144808 h 608067"/>
                <a:gd name="connsiteX180" fmla="*/ 31506 w 572724"/>
                <a:gd name="connsiteY180" fmla="*/ 156841 h 608067"/>
                <a:gd name="connsiteX181" fmla="*/ 29501 w 572724"/>
                <a:gd name="connsiteY181" fmla="*/ 154835 h 608067"/>
                <a:gd name="connsiteX182" fmla="*/ 19471 w 572724"/>
                <a:gd name="connsiteY182" fmla="*/ 173887 h 608067"/>
                <a:gd name="connsiteX183" fmla="*/ 16462 w 572724"/>
                <a:gd name="connsiteY183" fmla="*/ 194944 h 608067"/>
                <a:gd name="connsiteX184" fmla="*/ 17465 w 572724"/>
                <a:gd name="connsiteY184" fmla="*/ 206977 h 608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</a:cxnLst>
              <a:rect l="l" t="t" r="r" b="b"/>
              <a:pathLst>
                <a:path w="572724" h="608067">
                  <a:moveTo>
                    <a:pt x="17465" y="206977"/>
                  </a:moveTo>
                  <a:lnTo>
                    <a:pt x="15459" y="213996"/>
                  </a:lnTo>
                  <a:cubicBezTo>
                    <a:pt x="20474" y="189931"/>
                    <a:pt x="29501" y="165865"/>
                    <a:pt x="40533" y="142802"/>
                  </a:cubicBezTo>
                  <a:cubicBezTo>
                    <a:pt x="25489" y="165865"/>
                    <a:pt x="12451" y="194944"/>
                    <a:pt x="6433" y="223021"/>
                  </a:cubicBezTo>
                  <a:cubicBezTo>
                    <a:pt x="415" y="251097"/>
                    <a:pt x="1418" y="279173"/>
                    <a:pt x="8439" y="300230"/>
                  </a:cubicBezTo>
                  <a:cubicBezTo>
                    <a:pt x="4427" y="302236"/>
                    <a:pt x="1418" y="317277"/>
                    <a:pt x="415" y="331315"/>
                  </a:cubicBezTo>
                  <a:cubicBezTo>
                    <a:pt x="-587" y="345353"/>
                    <a:pt x="415" y="359391"/>
                    <a:pt x="1418" y="359391"/>
                  </a:cubicBezTo>
                  <a:cubicBezTo>
                    <a:pt x="4427" y="370421"/>
                    <a:pt x="7436" y="381451"/>
                    <a:pt x="10445" y="392481"/>
                  </a:cubicBezTo>
                  <a:cubicBezTo>
                    <a:pt x="8439" y="384459"/>
                    <a:pt x="6433" y="377440"/>
                    <a:pt x="4427" y="369418"/>
                  </a:cubicBezTo>
                  <a:cubicBezTo>
                    <a:pt x="6433" y="376438"/>
                    <a:pt x="8439" y="384459"/>
                    <a:pt x="10445" y="392481"/>
                  </a:cubicBezTo>
                  <a:cubicBezTo>
                    <a:pt x="15459" y="409528"/>
                    <a:pt x="21477" y="427577"/>
                    <a:pt x="29501" y="445626"/>
                  </a:cubicBezTo>
                  <a:cubicBezTo>
                    <a:pt x="37524" y="463675"/>
                    <a:pt x="47553" y="480721"/>
                    <a:pt x="60592" y="496765"/>
                  </a:cubicBezTo>
                  <a:cubicBezTo>
                    <a:pt x="86668" y="527849"/>
                    <a:pt x="120768" y="551915"/>
                    <a:pt x="156874" y="569964"/>
                  </a:cubicBezTo>
                  <a:cubicBezTo>
                    <a:pt x="176932" y="579991"/>
                    <a:pt x="216047" y="594029"/>
                    <a:pt x="257167" y="601048"/>
                  </a:cubicBezTo>
                  <a:cubicBezTo>
                    <a:pt x="278229" y="605059"/>
                    <a:pt x="299291" y="607064"/>
                    <a:pt x="317343" y="608067"/>
                  </a:cubicBezTo>
                  <a:cubicBezTo>
                    <a:pt x="336399" y="608067"/>
                    <a:pt x="353449" y="608067"/>
                    <a:pt x="364482" y="607064"/>
                  </a:cubicBezTo>
                  <a:cubicBezTo>
                    <a:pt x="371502" y="606062"/>
                    <a:pt x="378523" y="606062"/>
                    <a:pt x="385543" y="604056"/>
                  </a:cubicBezTo>
                  <a:cubicBezTo>
                    <a:pt x="373508" y="606062"/>
                    <a:pt x="373508" y="605059"/>
                    <a:pt x="362476" y="606062"/>
                  </a:cubicBezTo>
                  <a:cubicBezTo>
                    <a:pt x="390558" y="600045"/>
                    <a:pt x="415631" y="591021"/>
                    <a:pt x="438699" y="578988"/>
                  </a:cubicBezTo>
                  <a:cubicBezTo>
                    <a:pt x="433684" y="579991"/>
                    <a:pt x="432681" y="578988"/>
                    <a:pt x="422652" y="580994"/>
                  </a:cubicBezTo>
                  <a:cubicBezTo>
                    <a:pt x="426663" y="579991"/>
                    <a:pt x="430675" y="578988"/>
                    <a:pt x="434687" y="576983"/>
                  </a:cubicBezTo>
                  <a:cubicBezTo>
                    <a:pt x="444717" y="569964"/>
                    <a:pt x="467784" y="555925"/>
                    <a:pt x="476810" y="546901"/>
                  </a:cubicBezTo>
                  <a:cubicBezTo>
                    <a:pt x="475808" y="549909"/>
                    <a:pt x="483831" y="543893"/>
                    <a:pt x="490852" y="537876"/>
                  </a:cubicBezTo>
                  <a:lnTo>
                    <a:pt x="487843" y="538879"/>
                  </a:lnTo>
                  <a:cubicBezTo>
                    <a:pt x="500881" y="527849"/>
                    <a:pt x="512916" y="513811"/>
                    <a:pt x="521942" y="498770"/>
                  </a:cubicBezTo>
                  <a:cubicBezTo>
                    <a:pt x="530969" y="483729"/>
                    <a:pt x="537990" y="467686"/>
                    <a:pt x="543004" y="454650"/>
                  </a:cubicBezTo>
                  <a:cubicBezTo>
                    <a:pt x="544007" y="450639"/>
                    <a:pt x="546013" y="448634"/>
                    <a:pt x="547016" y="446628"/>
                  </a:cubicBezTo>
                  <a:cubicBezTo>
                    <a:pt x="549022" y="437604"/>
                    <a:pt x="552031" y="428579"/>
                    <a:pt x="553034" y="419555"/>
                  </a:cubicBezTo>
                  <a:cubicBezTo>
                    <a:pt x="555040" y="422563"/>
                    <a:pt x="560054" y="397495"/>
                    <a:pt x="559051" y="411533"/>
                  </a:cubicBezTo>
                  <a:cubicBezTo>
                    <a:pt x="561057" y="390476"/>
                    <a:pt x="566072" y="371424"/>
                    <a:pt x="566072" y="352372"/>
                  </a:cubicBezTo>
                  <a:cubicBezTo>
                    <a:pt x="571087" y="319282"/>
                    <a:pt x="575098" y="283184"/>
                    <a:pt x="571087" y="246083"/>
                  </a:cubicBezTo>
                  <a:cubicBezTo>
                    <a:pt x="567075" y="208982"/>
                    <a:pt x="552031" y="171881"/>
                    <a:pt x="528963" y="144808"/>
                  </a:cubicBezTo>
                  <a:lnTo>
                    <a:pt x="528963" y="146813"/>
                  </a:lnTo>
                  <a:cubicBezTo>
                    <a:pt x="512916" y="127762"/>
                    <a:pt x="493860" y="114726"/>
                    <a:pt x="469790" y="96677"/>
                  </a:cubicBezTo>
                  <a:cubicBezTo>
                    <a:pt x="459761" y="91663"/>
                    <a:pt x="447725" y="86650"/>
                    <a:pt x="437696" y="83642"/>
                  </a:cubicBezTo>
                  <a:cubicBezTo>
                    <a:pt x="432681" y="81636"/>
                    <a:pt x="427666" y="80633"/>
                    <a:pt x="422652" y="80633"/>
                  </a:cubicBezTo>
                  <a:cubicBezTo>
                    <a:pt x="418640" y="80633"/>
                    <a:pt x="414628" y="79631"/>
                    <a:pt x="412622" y="80633"/>
                  </a:cubicBezTo>
                  <a:cubicBezTo>
                    <a:pt x="406605" y="79631"/>
                    <a:pt x="401590" y="78628"/>
                    <a:pt x="397578" y="77625"/>
                  </a:cubicBezTo>
                  <a:cubicBezTo>
                    <a:pt x="392564" y="77625"/>
                    <a:pt x="388552" y="76623"/>
                    <a:pt x="384540" y="76623"/>
                  </a:cubicBezTo>
                  <a:cubicBezTo>
                    <a:pt x="380529" y="76623"/>
                    <a:pt x="376517" y="76623"/>
                    <a:pt x="372505" y="76623"/>
                  </a:cubicBezTo>
                  <a:cubicBezTo>
                    <a:pt x="368493" y="76623"/>
                    <a:pt x="363479" y="76623"/>
                    <a:pt x="357461" y="77625"/>
                  </a:cubicBezTo>
                  <a:cubicBezTo>
                    <a:pt x="360470" y="78628"/>
                    <a:pt x="355455" y="79631"/>
                    <a:pt x="350441" y="80633"/>
                  </a:cubicBezTo>
                  <a:cubicBezTo>
                    <a:pt x="346429" y="81636"/>
                    <a:pt x="341414" y="82639"/>
                    <a:pt x="347432" y="82639"/>
                  </a:cubicBezTo>
                  <a:cubicBezTo>
                    <a:pt x="361473" y="85647"/>
                    <a:pt x="362476" y="82639"/>
                    <a:pt x="374511" y="85647"/>
                  </a:cubicBezTo>
                  <a:lnTo>
                    <a:pt x="374511" y="84644"/>
                  </a:lnTo>
                  <a:cubicBezTo>
                    <a:pt x="402593" y="88655"/>
                    <a:pt x="428669" y="99685"/>
                    <a:pt x="451737" y="115729"/>
                  </a:cubicBezTo>
                  <a:cubicBezTo>
                    <a:pt x="474805" y="131772"/>
                    <a:pt x="494863" y="151827"/>
                    <a:pt x="507901" y="175892"/>
                  </a:cubicBezTo>
                  <a:cubicBezTo>
                    <a:pt x="518934" y="190933"/>
                    <a:pt x="525954" y="208982"/>
                    <a:pt x="528963" y="228034"/>
                  </a:cubicBezTo>
                  <a:cubicBezTo>
                    <a:pt x="532975" y="247086"/>
                    <a:pt x="532975" y="268143"/>
                    <a:pt x="531972" y="288198"/>
                  </a:cubicBezTo>
                  <a:cubicBezTo>
                    <a:pt x="530969" y="310258"/>
                    <a:pt x="527960" y="334323"/>
                    <a:pt x="524951" y="357386"/>
                  </a:cubicBezTo>
                  <a:cubicBezTo>
                    <a:pt x="521942" y="380448"/>
                    <a:pt x="518934" y="402508"/>
                    <a:pt x="513919" y="420557"/>
                  </a:cubicBezTo>
                  <a:cubicBezTo>
                    <a:pt x="511913" y="429582"/>
                    <a:pt x="507901" y="434596"/>
                    <a:pt x="503890" y="441615"/>
                  </a:cubicBezTo>
                  <a:cubicBezTo>
                    <a:pt x="497872" y="457658"/>
                    <a:pt x="489849" y="474705"/>
                    <a:pt x="477813" y="489746"/>
                  </a:cubicBezTo>
                  <a:cubicBezTo>
                    <a:pt x="465778" y="504786"/>
                    <a:pt x="450734" y="517822"/>
                    <a:pt x="434687" y="527849"/>
                  </a:cubicBezTo>
                  <a:cubicBezTo>
                    <a:pt x="435690" y="527849"/>
                    <a:pt x="435690" y="526846"/>
                    <a:pt x="436693" y="526846"/>
                  </a:cubicBezTo>
                  <a:cubicBezTo>
                    <a:pt x="419643" y="536874"/>
                    <a:pt x="404599" y="540885"/>
                    <a:pt x="385543" y="545898"/>
                  </a:cubicBezTo>
                  <a:cubicBezTo>
                    <a:pt x="385543" y="546901"/>
                    <a:pt x="382534" y="547904"/>
                    <a:pt x="381531" y="547904"/>
                  </a:cubicBezTo>
                  <a:cubicBezTo>
                    <a:pt x="380529" y="546901"/>
                    <a:pt x="372505" y="548906"/>
                    <a:pt x="361473" y="550912"/>
                  </a:cubicBezTo>
                  <a:cubicBezTo>
                    <a:pt x="350441" y="552917"/>
                    <a:pt x="335396" y="554923"/>
                    <a:pt x="320352" y="556928"/>
                  </a:cubicBezTo>
                  <a:cubicBezTo>
                    <a:pt x="289261" y="558934"/>
                    <a:pt x="257167" y="555925"/>
                    <a:pt x="254159" y="553920"/>
                  </a:cubicBezTo>
                  <a:cubicBezTo>
                    <a:pt x="252153" y="553920"/>
                    <a:pt x="250147" y="552917"/>
                    <a:pt x="247138" y="552917"/>
                  </a:cubicBezTo>
                  <a:cubicBezTo>
                    <a:pt x="226076" y="547904"/>
                    <a:pt x="204012" y="539882"/>
                    <a:pt x="184956" y="529855"/>
                  </a:cubicBezTo>
                  <a:cubicBezTo>
                    <a:pt x="165900" y="520830"/>
                    <a:pt x="148850" y="509800"/>
                    <a:pt x="133806" y="500776"/>
                  </a:cubicBezTo>
                  <a:cubicBezTo>
                    <a:pt x="126785" y="497767"/>
                    <a:pt x="118762" y="493756"/>
                    <a:pt x="112744" y="490748"/>
                  </a:cubicBezTo>
                  <a:cubicBezTo>
                    <a:pt x="108733" y="485735"/>
                    <a:pt x="105724" y="486737"/>
                    <a:pt x="100709" y="480721"/>
                  </a:cubicBezTo>
                  <a:cubicBezTo>
                    <a:pt x="91683" y="462672"/>
                    <a:pt x="84662" y="454650"/>
                    <a:pt x="87671" y="464677"/>
                  </a:cubicBezTo>
                  <a:cubicBezTo>
                    <a:pt x="76639" y="452645"/>
                    <a:pt x="69618" y="438607"/>
                    <a:pt x="64604" y="425571"/>
                  </a:cubicBezTo>
                  <a:cubicBezTo>
                    <a:pt x="61595" y="419555"/>
                    <a:pt x="58586" y="413538"/>
                    <a:pt x="56580" y="407522"/>
                  </a:cubicBezTo>
                  <a:cubicBezTo>
                    <a:pt x="54574" y="402508"/>
                    <a:pt x="54574" y="398498"/>
                    <a:pt x="55577" y="395489"/>
                  </a:cubicBezTo>
                  <a:cubicBezTo>
                    <a:pt x="51565" y="381451"/>
                    <a:pt x="53571" y="385462"/>
                    <a:pt x="51565" y="369418"/>
                  </a:cubicBezTo>
                  <a:cubicBezTo>
                    <a:pt x="52568" y="367413"/>
                    <a:pt x="49559" y="357386"/>
                    <a:pt x="47553" y="347358"/>
                  </a:cubicBezTo>
                  <a:cubicBezTo>
                    <a:pt x="45547" y="337331"/>
                    <a:pt x="43542" y="327304"/>
                    <a:pt x="43542" y="325299"/>
                  </a:cubicBezTo>
                  <a:lnTo>
                    <a:pt x="43542" y="328307"/>
                  </a:lnTo>
                  <a:cubicBezTo>
                    <a:pt x="42539" y="309255"/>
                    <a:pt x="47553" y="297222"/>
                    <a:pt x="48556" y="280176"/>
                  </a:cubicBezTo>
                  <a:cubicBezTo>
                    <a:pt x="50562" y="255108"/>
                    <a:pt x="54574" y="230040"/>
                    <a:pt x="61595" y="205974"/>
                  </a:cubicBezTo>
                  <a:cubicBezTo>
                    <a:pt x="67612" y="181909"/>
                    <a:pt x="77642" y="158846"/>
                    <a:pt x="89677" y="139794"/>
                  </a:cubicBezTo>
                  <a:cubicBezTo>
                    <a:pt x="87671" y="137789"/>
                    <a:pt x="85665" y="148819"/>
                    <a:pt x="82656" y="147816"/>
                  </a:cubicBezTo>
                  <a:cubicBezTo>
                    <a:pt x="95694" y="123751"/>
                    <a:pt x="113747" y="104699"/>
                    <a:pt x="132803" y="87652"/>
                  </a:cubicBezTo>
                  <a:cubicBezTo>
                    <a:pt x="136815" y="84644"/>
                    <a:pt x="141829" y="82639"/>
                    <a:pt x="143835" y="81636"/>
                  </a:cubicBezTo>
                  <a:cubicBezTo>
                    <a:pt x="150856" y="76623"/>
                    <a:pt x="146844" y="77625"/>
                    <a:pt x="151859" y="74617"/>
                  </a:cubicBezTo>
                  <a:lnTo>
                    <a:pt x="153865" y="75620"/>
                  </a:lnTo>
                  <a:cubicBezTo>
                    <a:pt x="159883" y="68601"/>
                    <a:pt x="165900" y="70606"/>
                    <a:pt x="171918" y="64590"/>
                  </a:cubicBezTo>
                  <a:cubicBezTo>
                    <a:pt x="171918" y="63587"/>
                    <a:pt x="173924" y="61582"/>
                    <a:pt x="176932" y="60579"/>
                  </a:cubicBezTo>
                  <a:cubicBezTo>
                    <a:pt x="177935" y="62584"/>
                    <a:pt x="184956" y="55565"/>
                    <a:pt x="184956" y="58573"/>
                  </a:cubicBezTo>
                  <a:lnTo>
                    <a:pt x="184956" y="58573"/>
                  </a:lnTo>
                  <a:cubicBezTo>
                    <a:pt x="186962" y="57571"/>
                    <a:pt x="187965" y="57571"/>
                    <a:pt x="189971" y="56568"/>
                  </a:cubicBezTo>
                  <a:cubicBezTo>
                    <a:pt x="190973" y="55565"/>
                    <a:pt x="197994" y="49549"/>
                    <a:pt x="206017" y="45538"/>
                  </a:cubicBezTo>
                  <a:cubicBezTo>
                    <a:pt x="213038" y="40524"/>
                    <a:pt x="221061" y="36513"/>
                    <a:pt x="223067" y="35511"/>
                  </a:cubicBezTo>
                  <a:lnTo>
                    <a:pt x="225073" y="35511"/>
                  </a:lnTo>
                  <a:cubicBezTo>
                    <a:pt x="230088" y="34508"/>
                    <a:pt x="231091" y="32503"/>
                    <a:pt x="228082" y="32503"/>
                  </a:cubicBezTo>
                  <a:lnTo>
                    <a:pt x="234100" y="31500"/>
                  </a:lnTo>
                  <a:lnTo>
                    <a:pt x="233097" y="31500"/>
                  </a:lnTo>
                  <a:lnTo>
                    <a:pt x="239114" y="30497"/>
                  </a:lnTo>
                  <a:cubicBezTo>
                    <a:pt x="240117" y="30497"/>
                    <a:pt x="241120" y="31500"/>
                    <a:pt x="240117" y="32503"/>
                  </a:cubicBezTo>
                  <a:cubicBezTo>
                    <a:pt x="243126" y="31500"/>
                    <a:pt x="247138" y="30497"/>
                    <a:pt x="250147" y="30497"/>
                  </a:cubicBezTo>
                  <a:cubicBezTo>
                    <a:pt x="241120" y="30497"/>
                    <a:pt x="229085" y="30497"/>
                    <a:pt x="219056" y="31500"/>
                  </a:cubicBezTo>
                  <a:cubicBezTo>
                    <a:pt x="223067" y="29494"/>
                    <a:pt x="230088" y="29494"/>
                    <a:pt x="234100" y="27489"/>
                  </a:cubicBezTo>
                  <a:cubicBezTo>
                    <a:pt x="237108" y="27489"/>
                    <a:pt x="241120" y="27489"/>
                    <a:pt x="245132" y="27489"/>
                  </a:cubicBezTo>
                  <a:cubicBezTo>
                    <a:pt x="249144" y="27489"/>
                    <a:pt x="254159" y="27489"/>
                    <a:pt x="258170" y="27489"/>
                  </a:cubicBezTo>
                  <a:cubicBezTo>
                    <a:pt x="260176" y="27489"/>
                    <a:pt x="261179" y="24481"/>
                    <a:pt x="265191" y="25483"/>
                  </a:cubicBezTo>
                  <a:cubicBezTo>
                    <a:pt x="267197" y="27489"/>
                    <a:pt x="270206" y="25483"/>
                    <a:pt x="273214" y="26486"/>
                  </a:cubicBezTo>
                  <a:cubicBezTo>
                    <a:pt x="269203" y="27489"/>
                    <a:pt x="265191" y="27489"/>
                    <a:pt x="261179" y="27489"/>
                  </a:cubicBezTo>
                  <a:cubicBezTo>
                    <a:pt x="261179" y="28492"/>
                    <a:pt x="264188" y="28492"/>
                    <a:pt x="266194" y="28492"/>
                  </a:cubicBezTo>
                  <a:cubicBezTo>
                    <a:pt x="269203" y="28492"/>
                    <a:pt x="272211" y="28492"/>
                    <a:pt x="273214" y="28492"/>
                  </a:cubicBezTo>
                  <a:cubicBezTo>
                    <a:pt x="274217" y="27489"/>
                    <a:pt x="282241" y="28492"/>
                    <a:pt x="287255" y="28492"/>
                  </a:cubicBezTo>
                  <a:cubicBezTo>
                    <a:pt x="285250" y="30497"/>
                    <a:pt x="291267" y="30497"/>
                    <a:pt x="293273" y="31500"/>
                  </a:cubicBezTo>
                  <a:cubicBezTo>
                    <a:pt x="296282" y="31500"/>
                    <a:pt x="298288" y="31500"/>
                    <a:pt x="297285" y="30497"/>
                  </a:cubicBezTo>
                  <a:cubicBezTo>
                    <a:pt x="298288" y="28492"/>
                    <a:pt x="285250" y="27489"/>
                    <a:pt x="289261" y="25483"/>
                  </a:cubicBezTo>
                  <a:cubicBezTo>
                    <a:pt x="290264" y="26486"/>
                    <a:pt x="296282" y="26486"/>
                    <a:pt x="300294" y="27489"/>
                  </a:cubicBezTo>
                  <a:cubicBezTo>
                    <a:pt x="300294" y="26486"/>
                    <a:pt x="298288" y="26486"/>
                    <a:pt x="300294" y="25483"/>
                  </a:cubicBezTo>
                  <a:cubicBezTo>
                    <a:pt x="304305" y="26486"/>
                    <a:pt x="308317" y="25483"/>
                    <a:pt x="310323" y="27489"/>
                  </a:cubicBezTo>
                  <a:cubicBezTo>
                    <a:pt x="309320" y="27489"/>
                    <a:pt x="308317" y="27489"/>
                    <a:pt x="307314" y="26486"/>
                  </a:cubicBezTo>
                  <a:cubicBezTo>
                    <a:pt x="309320" y="27489"/>
                    <a:pt x="302299" y="27489"/>
                    <a:pt x="296282" y="28492"/>
                  </a:cubicBezTo>
                  <a:cubicBezTo>
                    <a:pt x="289261" y="29494"/>
                    <a:pt x="283244" y="31500"/>
                    <a:pt x="286252" y="30497"/>
                  </a:cubicBezTo>
                  <a:cubicBezTo>
                    <a:pt x="285250" y="30497"/>
                    <a:pt x="292270" y="28492"/>
                    <a:pt x="299291" y="27489"/>
                  </a:cubicBezTo>
                  <a:cubicBezTo>
                    <a:pt x="306311" y="27489"/>
                    <a:pt x="313332" y="26486"/>
                    <a:pt x="311326" y="26486"/>
                  </a:cubicBezTo>
                  <a:cubicBezTo>
                    <a:pt x="308317" y="25483"/>
                    <a:pt x="314335" y="24481"/>
                    <a:pt x="311326" y="23478"/>
                  </a:cubicBezTo>
                  <a:lnTo>
                    <a:pt x="307314" y="24481"/>
                  </a:lnTo>
                  <a:cubicBezTo>
                    <a:pt x="303302" y="23478"/>
                    <a:pt x="302299" y="20470"/>
                    <a:pt x="303302" y="20470"/>
                  </a:cubicBezTo>
                  <a:cubicBezTo>
                    <a:pt x="307314" y="21473"/>
                    <a:pt x="301296" y="22475"/>
                    <a:pt x="296282" y="23478"/>
                  </a:cubicBezTo>
                  <a:cubicBezTo>
                    <a:pt x="291267" y="24481"/>
                    <a:pt x="285250" y="26486"/>
                    <a:pt x="288258" y="25483"/>
                  </a:cubicBezTo>
                  <a:lnTo>
                    <a:pt x="286252" y="24481"/>
                  </a:lnTo>
                  <a:cubicBezTo>
                    <a:pt x="289261" y="24481"/>
                    <a:pt x="296282" y="23478"/>
                    <a:pt x="298288" y="25483"/>
                  </a:cubicBezTo>
                  <a:cubicBezTo>
                    <a:pt x="298288" y="24481"/>
                    <a:pt x="302299" y="24481"/>
                    <a:pt x="305308" y="24481"/>
                  </a:cubicBezTo>
                  <a:lnTo>
                    <a:pt x="306311" y="24481"/>
                  </a:lnTo>
                  <a:cubicBezTo>
                    <a:pt x="309320" y="24481"/>
                    <a:pt x="313332" y="25483"/>
                    <a:pt x="312329" y="23478"/>
                  </a:cubicBezTo>
                  <a:cubicBezTo>
                    <a:pt x="303302" y="22475"/>
                    <a:pt x="307314" y="19467"/>
                    <a:pt x="310323" y="16459"/>
                  </a:cubicBezTo>
                  <a:cubicBezTo>
                    <a:pt x="314335" y="13451"/>
                    <a:pt x="318346" y="11445"/>
                    <a:pt x="309320" y="9440"/>
                  </a:cubicBezTo>
                  <a:cubicBezTo>
                    <a:pt x="316340" y="13451"/>
                    <a:pt x="306311" y="11445"/>
                    <a:pt x="298288" y="10443"/>
                  </a:cubicBezTo>
                  <a:cubicBezTo>
                    <a:pt x="297285" y="9440"/>
                    <a:pt x="294276" y="7434"/>
                    <a:pt x="288258" y="6432"/>
                  </a:cubicBezTo>
                  <a:cubicBezTo>
                    <a:pt x="283244" y="6432"/>
                    <a:pt x="285250" y="7434"/>
                    <a:pt x="284247" y="7434"/>
                  </a:cubicBezTo>
                  <a:cubicBezTo>
                    <a:pt x="281238" y="6432"/>
                    <a:pt x="276223" y="6432"/>
                    <a:pt x="277226" y="4426"/>
                  </a:cubicBezTo>
                  <a:cubicBezTo>
                    <a:pt x="273214" y="6432"/>
                    <a:pt x="271208" y="3424"/>
                    <a:pt x="266194" y="4426"/>
                  </a:cubicBezTo>
                  <a:cubicBezTo>
                    <a:pt x="262182" y="5429"/>
                    <a:pt x="266194" y="5429"/>
                    <a:pt x="263185" y="6432"/>
                  </a:cubicBezTo>
                  <a:cubicBezTo>
                    <a:pt x="257167" y="6432"/>
                    <a:pt x="248141" y="7434"/>
                    <a:pt x="243126" y="7434"/>
                  </a:cubicBezTo>
                  <a:cubicBezTo>
                    <a:pt x="241120" y="6432"/>
                    <a:pt x="235103" y="5429"/>
                    <a:pt x="239114" y="2421"/>
                  </a:cubicBezTo>
                  <a:cubicBezTo>
                    <a:pt x="249144" y="1418"/>
                    <a:pt x="236105" y="6432"/>
                    <a:pt x="246135" y="4426"/>
                  </a:cubicBezTo>
                  <a:cubicBezTo>
                    <a:pt x="241120" y="2421"/>
                    <a:pt x="255162" y="2421"/>
                    <a:pt x="256164" y="415"/>
                  </a:cubicBezTo>
                  <a:cubicBezTo>
                    <a:pt x="253156" y="-587"/>
                    <a:pt x="246135" y="415"/>
                    <a:pt x="241120" y="1418"/>
                  </a:cubicBezTo>
                  <a:lnTo>
                    <a:pt x="242123" y="1418"/>
                  </a:lnTo>
                  <a:cubicBezTo>
                    <a:pt x="237108" y="2421"/>
                    <a:pt x="228082" y="5429"/>
                    <a:pt x="222064" y="4426"/>
                  </a:cubicBezTo>
                  <a:cubicBezTo>
                    <a:pt x="223067" y="3424"/>
                    <a:pt x="221061" y="2421"/>
                    <a:pt x="224070" y="1418"/>
                  </a:cubicBezTo>
                  <a:lnTo>
                    <a:pt x="217050" y="2421"/>
                  </a:lnTo>
                  <a:cubicBezTo>
                    <a:pt x="216047" y="3424"/>
                    <a:pt x="215044" y="3424"/>
                    <a:pt x="217050" y="3424"/>
                  </a:cubicBezTo>
                  <a:cubicBezTo>
                    <a:pt x="214041" y="5429"/>
                    <a:pt x="211032" y="5429"/>
                    <a:pt x="208023" y="5429"/>
                  </a:cubicBezTo>
                  <a:cubicBezTo>
                    <a:pt x="207020" y="5429"/>
                    <a:pt x="198997" y="8437"/>
                    <a:pt x="191976" y="13451"/>
                  </a:cubicBezTo>
                  <a:cubicBezTo>
                    <a:pt x="183953" y="17462"/>
                    <a:pt x="176932" y="22475"/>
                    <a:pt x="177935" y="22475"/>
                  </a:cubicBezTo>
                  <a:cubicBezTo>
                    <a:pt x="173924" y="24481"/>
                    <a:pt x="171918" y="23478"/>
                    <a:pt x="167906" y="26486"/>
                  </a:cubicBezTo>
                  <a:cubicBezTo>
                    <a:pt x="167906" y="26486"/>
                    <a:pt x="169912" y="25483"/>
                    <a:pt x="173924" y="23478"/>
                  </a:cubicBezTo>
                  <a:cubicBezTo>
                    <a:pt x="177935" y="21473"/>
                    <a:pt x="181947" y="18464"/>
                    <a:pt x="186962" y="15456"/>
                  </a:cubicBezTo>
                  <a:cubicBezTo>
                    <a:pt x="191976" y="13451"/>
                    <a:pt x="195988" y="10443"/>
                    <a:pt x="200000" y="8437"/>
                  </a:cubicBezTo>
                  <a:cubicBezTo>
                    <a:pt x="203009" y="7434"/>
                    <a:pt x="205015" y="6432"/>
                    <a:pt x="203009" y="6432"/>
                  </a:cubicBezTo>
                  <a:cubicBezTo>
                    <a:pt x="202006" y="6432"/>
                    <a:pt x="197994" y="7434"/>
                    <a:pt x="192979" y="10443"/>
                  </a:cubicBezTo>
                  <a:cubicBezTo>
                    <a:pt x="187965" y="12448"/>
                    <a:pt x="181947" y="16459"/>
                    <a:pt x="175929" y="19467"/>
                  </a:cubicBezTo>
                  <a:cubicBezTo>
                    <a:pt x="169912" y="22475"/>
                    <a:pt x="164897" y="26486"/>
                    <a:pt x="159883" y="29494"/>
                  </a:cubicBezTo>
                  <a:cubicBezTo>
                    <a:pt x="155871" y="32503"/>
                    <a:pt x="152862" y="34508"/>
                    <a:pt x="151859" y="34508"/>
                  </a:cubicBezTo>
                  <a:cubicBezTo>
                    <a:pt x="148850" y="36513"/>
                    <a:pt x="145841" y="39522"/>
                    <a:pt x="146844" y="39522"/>
                  </a:cubicBezTo>
                  <a:cubicBezTo>
                    <a:pt x="141829" y="42530"/>
                    <a:pt x="146844" y="36513"/>
                    <a:pt x="142832" y="38519"/>
                  </a:cubicBezTo>
                  <a:cubicBezTo>
                    <a:pt x="142832" y="38519"/>
                    <a:pt x="143835" y="38519"/>
                    <a:pt x="141829" y="39522"/>
                  </a:cubicBezTo>
                  <a:cubicBezTo>
                    <a:pt x="140826" y="39522"/>
                    <a:pt x="138821" y="40524"/>
                    <a:pt x="137818" y="40524"/>
                  </a:cubicBezTo>
                  <a:cubicBezTo>
                    <a:pt x="134809" y="44535"/>
                    <a:pt x="129794" y="47543"/>
                    <a:pt x="124780" y="50552"/>
                  </a:cubicBezTo>
                  <a:cubicBezTo>
                    <a:pt x="120768" y="54563"/>
                    <a:pt x="115753" y="58573"/>
                    <a:pt x="112744" y="62584"/>
                  </a:cubicBezTo>
                  <a:cubicBezTo>
                    <a:pt x="113747" y="59576"/>
                    <a:pt x="114750" y="55565"/>
                    <a:pt x="118762" y="50552"/>
                  </a:cubicBezTo>
                  <a:lnTo>
                    <a:pt x="119765" y="50552"/>
                  </a:lnTo>
                  <a:cubicBezTo>
                    <a:pt x="119765" y="49549"/>
                    <a:pt x="123777" y="45538"/>
                    <a:pt x="122774" y="45538"/>
                  </a:cubicBezTo>
                  <a:cubicBezTo>
                    <a:pt x="117759" y="48546"/>
                    <a:pt x="113747" y="52557"/>
                    <a:pt x="109736" y="57571"/>
                  </a:cubicBezTo>
                  <a:cubicBezTo>
                    <a:pt x="108733" y="58573"/>
                    <a:pt x="107730" y="58573"/>
                    <a:pt x="106727" y="59576"/>
                  </a:cubicBezTo>
                  <a:cubicBezTo>
                    <a:pt x="106727" y="59576"/>
                    <a:pt x="106727" y="59576"/>
                    <a:pt x="106727" y="59576"/>
                  </a:cubicBezTo>
                  <a:cubicBezTo>
                    <a:pt x="104721" y="60579"/>
                    <a:pt x="104721" y="60579"/>
                    <a:pt x="104721" y="59576"/>
                  </a:cubicBezTo>
                  <a:cubicBezTo>
                    <a:pt x="104721" y="59576"/>
                    <a:pt x="104721" y="59576"/>
                    <a:pt x="104721" y="58573"/>
                  </a:cubicBezTo>
                  <a:cubicBezTo>
                    <a:pt x="101712" y="58573"/>
                    <a:pt x="98703" y="63587"/>
                    <a:pt x="93689" y="68601"/>
                  </a:cubicBezTo>
                  <a:cubicBezTo>
                    <a:pt x="89677" y="74617"/>
                    <a:pt x="84662" y="80633"/>
                    <a:pt x="80650" y="84644"/>
                  </a:cubicBezTo>
                  <a:cubicBezTo>
                    <a:pt x="78645" y="87652"/>
                    <a:pt x="80650" y="85647"/>
                    <a:pt x="78645" y="88655"/>
                  </a:cubicBezTo>
                  <a:cubicBezTo>
                    <a:pt x="70621" y="96677"/>
                    <a:pt x="65606" y="102693"/>
                    <a:pt x="58586" y="112721"/>
                  </a:cubicBezTo>
                  <a:cubicBezTo>
                    <a:pt x="57583" y="116732"/>
                    <a:pt x="58586" y="117734"/>
                    <a:pt x="61595" y="113723"/>
                  </a:cubicBezTo>
                  <a:lnTo>
                    <a:pt x="56580" y="121745"/>
                  </a:lnTo>
                  <a:cubicBezTo>
                    <a:pt x="56580" y="117734"/>
                    <a:pt x="53571" y="120742"/>
                    <a:pt x="51565" y="123751"/>
                  </a:cubicBezTo>
                  <a:cubicBezTo>
                    <a:pt x="48556" y="126759"/>
                    <a:pt x="46550" y="129767"/>
                    <a:pt x="46550" y="124753"/>
                  </a:cubicBezTo>
                  <a:cubicBezTo>
                    <a:pt x="44545" y="126759"/>
                    <a:pt x="41536" y="131772"/>
                    <a:pt x="40533" y="136786"/>
                  </a:cubicBezTo>
                  <a:cubicBezTo>
                    <a:pt x="41536" y="137789"/>
                    <a:pt x="42539" y="138792"/>
                    <a:pt x="39530" y="144808"/>
                  </a:cubicBezTo>
                  <a:cubicBezTo>
                    <a:pt x="34515" y="152830"/>
                    <a:pt x="35518" y="150824"/>
                    <a:pt x="31506" y="156841"/>
                  </a:cubicBezTo>
                  <a:cubicBezTo>
                    <a:pt x="29501" y="157843"/>
                    <a:pt x="30503" y="154835"/>
                    <a:pt x="29501" y="154835"/>
                  </a:cubicBezTo>
                  <a:cubicBezTo>
                    <a:pt x="27495" y="165865"/>
                    <a:pt x="23483" y="162857"/>
                    <a:pt x="19471" y="173887"/>
                  </a:cubicBezTo>
                  <a:cubicBezTo>
                    <a:pt x="17465" y="180906"/>
                    <a:pt x="14457" y="193941"/>
                    <a:pt x="16462" y="194944"/>
                  </a:cubicBezTo>
                  <a:cubicBezTo>
                    <a:pt x="20474" y="208982"/>
                    <a:pt x="18468" y="208982"/>
                    <a:pt x="17465" y="206977"/>
                  </a:cubicBezTo>
                  <a:close/>
                </a:path>
              </a:pathLst>
            </a:custGeom>
            <a:solidFill>
              <a:srgbClr val="154573"/>
            </a:solidFill>
            <a:ln w="100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 sz="1800"/>
            </a:p>
          </p:txBody>
        </p:sp>
      </p:grpSp>
      <p:grpSp>
        <p:nvGrpSpPr>
          <p:cNvPr id="25" name="Gruppe 24">
            <a:extLst>
              <a:ext uri="{FF2B5EF4-FFF2-40B4-BE49-F238E27FC236}">
                <a16:creationId xmlns:a16="http://schemas.microsoft.com/office/drawing/2014/main" id="{18CE61A2-D431-9A4C-8373-1E05182494CA}"/>
              </a:ext>
            </a:extLst>
          </p:cNvPr>
          <p:cNvGrpSpPr/>
          <p:nvPr userDrawn="1"/>
        </p:nvGrpSpPr>
        <p:grpSpPr>
          <a:xfrm>
            <a:off x="1308676" y="4692804"/>
            <a:ext cx="577040" cy="833754"/>
            <a:chOff x="3696530" y="4107267"/>
            <a:chExt cx="577040" cy="833754"/>
          </a:xfrm>
        </p:grpSpPr>
        <p:sp>
          <p:nvSpPr>
            <p:cNvPr id="15" name="Tekstfelt 14">
              <a:extLst>
                <a:ext uri="{FF2B5EF4-FFF2-40B4-BE49-F238E27FC236}">
                  <a16:creationId xmlns:a16="http://schemas.microsoft.com/office/drawing/2014/main" id="{F99AFC48-91AC-5F4D-B792-9F3BC4563246}"/>
                </a:ext>
              </a:extLst>
            </p:cNvPr>
            <p:cNvSpPr txBox="1"/>
            <p:nvPr/>
          </p:nvSpPr>
          <p:spPr>
            <a:xfrm>
              <a:off x="3776318" y="4107267"/>
              <a:ext cx="497252" cy="8337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da-DK" sz="4818" spc="0" baseline="0">
                  <a:solidFill>
                    <a:srgbClr val="154573"/>
                  </a:solidFill>
                  <a:latin typeface="Manus"/>
                  <a:sym typeface="Manus"/>
                  <a:rtl val="0"/>
                </a:rPr>
                <a:t>4</a:t>
              </a:r>
            </a:p>
          </p:txBody>
        </p:sp>
        <p:sp>
          <p:nvSpPr>
            <p:cNvPr id="21" name="Kombinationstegning 20">
              <a:extLst>
                <a:ext uri="{FF2B5EF4-FFF2-40B4-BE49-F238E27FC236}">
                  <a16:creationId xmlns:a16="http://schemas.microsoft.com/office/drawing/2014/main" id="{37E26D19-BA0B-7B4A-98E7-0A65C7D39993}"/>
                </a:ext>
              </a:extLst>
            </p:cNvPr>
            <p:cNvSpPr/>
            <p:nvPr/>
          </p:nvSpPr>
          <p:spPr>
            <a:xfrm>
              <a:off x="3696530" y="4164662"/>
              <a:ext cx="572723" cy="608067"/>
            </a:xfrm>
            <a:custGeom>
              <a:avLst/>
              <a:gdLst>
                <a:gd name="connsiteX0" fmla="*/ 17465 w 572723"/>
                <a:gd name="connsiteY0" fmla="*/ 206977 h 608067"/>
                <a:gd name="connsiteX1" fmla="*/ 15460 w 572723"/>
                <a:gd name="connsiteY1" fmla="*/ 213996 h 608067"/>
                <a:gd name="connsiteX2" fmla="*/ 40533 w 572723"/>
                <a:gd name="connsiteY2" fmla="*/ 142802 h 608067"/>
                <a:gd name="connsiteX3" fmla="*/ 6433 w 572723"/>
                <a:gd name="connsiteY3" fmla="*/ 223020 h 608067"/>
                <a:gd name="connsiteX4" fmla="*/ 8439 w 572723"/>
                <a:gd name="connsiteY4" fmla="*/ 300230 h 608067"/>
                <a:gd name="connsiteX5" fmla="*/ 415 w 572723"/>
                <a:gd name="connsiteY5" fmla="*/ 331315 h 608067"/>
                <a:gd name="connsiteX6" fmla="*/ 1418 w 572723"/>
                <a:gd name="connsiteY6" fmla="*/ 359391 h 608067"/>
                <a:gd name="connsiteX7" fmla="*/ 10445 w 572723"/>
                <a:gd name="connsiteY7" fmla="*/ 392481 h 608067"/>
                <a:gd name="connsiteX8" fmla="*/ 4427 w 572723"/>
                <a:gd name="connsiteY8" fmla="*/ 369418 h 608067"/>
                <a:gd name="connsiteX9" fmla="*/ 10445 w 572723"/>
                <a:gd name="connsiteY9" fmla="*/ 392481 h 608067"/>
                <a:gd name="connsiteX10" fmla="*/ 29501 w 572723"/>
                <a:gd name="connsiteY10" fmla="*/ 445626 h 608067"/>
                <a:gd name="connsiteX11" fmla="*/ 60592 w 572723"/>
                <a:gd name="connsiteY11" fmla="*/ 496765 h 608067"/>
                <a:gd name="connsiteX12" fmla="*/ 156873 w 572723"/>
                <a:gd name="connsiteY12" fmla="*/ 569964 h 608067"/>
                <a:gd name="connsiteX13" fmla="*/ 257167 w 572723"/>
                <a:gd name="connsiteY13" fmla="*/ 601048 h 608067"/>
                <a:gd name="connsiteX14" fmla="*/ 317343 w 572723"/>
                <a:gd name="connsiteY14" fmla="*/ 608067 h 608067"/>
                <a:gd name="connsiteX15" fmla="*/ 364481 w 572723"/>
                <a:gd name="connsiteY15" fmla="*/ 607064 h 608067"/>
                <a:gd name="connsiteX16" fmla="*/ 385543 w 572723"/>
                <a:gd name="connsiteY16" fmla="*/ 604056 h 608067"/>
                <a:gd name="connsiteX17" fmla="*/ 362475 w 572723"/>
                <a:gd name="connsiteY17" fmla="*/ 606062 h 608067"/>
                <a:gd name="connsiteX18" fmla="*/ 438699 w 572723"/>
                <a:gd name="connsiteY18" fmla="*/ 578988 h 608067"/>
                <a:gd name="connsiteX19" fmla="*/ 422652 w 572723"/>
                <a:gd name="connsiteY19" fmla="*/ 580994 h 608067"/>
                <a:gd name="connsiteX20" fmla="*/ 434687 w 572723"/>
                <a:gd name="connsiteY20" fmla="*/ 576983 h 608067"/>
                <a:gd name="connsiteX21" fmla="*/ 476810 w 572723"/>
                <a:gd name="connsiteY21" fmla="*/ 546901 h 608067"/>
                <a:gd name="connsiteX22" fmla="*/ 490852 w 572723"/>
                <a:gd name="connsiteY22" fmla="*/ 537876 h 608067"/>
                <a:gd name="connsiteX23" fmla="*/ 487843 w 572723"/>
                <a:gd name="connsiteY23" fmla="*/ 538879 h 608067"/>
                <a:gd name="connsiteX24" fmla="*/ 521943 w 572723"/>
                <a:gd name="connsiteY24" fmla="*/ 498770 h 608067"/>
                <a:gd name="connsiteX25" fmla="*/ 543004 w 572723"/>
                <a:gd name="connsiteY25" fmla="*/ 454650 h 608067"/>
                <a:gd name="connsiteX26" fmla="*/ 547016 w 572723"/>
                <a:gd name="connsiteY26" fmla="*/ 446628 h 608067"/>
                <a:gd name="connsiteX27" fmla="*/ 553033 w 572723"/>
                <a:gd name="connsiteY27" fmla="*/ 419555 h 608067"/>
                <a:gd name="connsiteX28" fmla="*/ 559051 w 572723"/>
                <a:gd name="connsiteY28" fmla="*/ 411533 h 608067"/>
                <a:gd name="connsiteX29" fmla="*/ 566072 w 572723"/>
                <a:gd name="connsiteY29" fmla="*/ 352372 h 608067"/>
                <a:gd name="connsiteX30" fmla="*/ 571086 w 572723"/>
                <a:gd name="connsiteY30" fmla="*/ 246083 h 608067"/>
                <a:gd name="connsiteX31" fmla="*/ 528963 w 572723"/>
                <a:gd name="connsiteY31" fmla="*/ 144808 h 608067"/>
                <a:gd name="connsiteX32" fmla="*/ 528963 w 572723"/>
                <a:gd name="connsiteY32" fmla="*/ 146813 h 608067"/>
                <a:gd name="connsiteX33" fmla="*/ 469790 w 572723"/>
                <a:gd name="connsiteY33" fmla="*/ 96677 h 608067"/>
                <a:gd name="connsiteX34" fmla="*/ 437696 w 572723"/>
                <a:gd name="connsiteY34" fmla="*/ 83642 h 608067"/>
                <a:gd name="connsiteX35" fmla="*/ 422652 w 572723"/>
                <a:gd name="connsiteY35" fmla="*/ 80633 h 608067"/>
                <a:gd name="connsiteX36" fmla="*/ 412622 w 572723"/>
                <a:gd name="connsiteY36" fmla="*/ 80633 h 608067"/>
                <a:gd name="connsiteX37" fmla="*/ 397578 w 572723"/>
                <a:gd name="connsiteY37" fmla="*/ 77625 h 608067"/>
                <a:gd name="connsiteX38" fmla="*/ 384540 w 572723"/>
                <a:gd name="connsiteY38" fmla="*/ 76623 h 608067"/>
                <a:gd name="connsiteX39" fmla="*/ 372505 w 572723"/>
                <a:gd name="connsiteY39" fmla="*/ 76623 h 608067"/>
                <a:gd name="connsiteX40" fmla="*/ 357461 w 572723"/>
                <a:gd name="connsiteY40" fmla="*/ 77625 h 608067"/>
                <a:gd name="connsiteX41" fmla="*/ 350440 w 572723"/>
                <a:gd name="connsiteY41" fmla="*/ 80633 h 608067"/>
                <a:gd name="connsiteX42" fmla="*/ 347431 w 572723"/>
                <a:gd name="connsiteY42" fmla="*/ 82639 h 608067"/>
                <a:gd name="connsiteX43" fmla="*/ 374511 w 572723"/>
                <a:gd name="connsiteY43" fmla="*/ 85647 h 608067"/>
                <a:gd name="connsiteX44" fmla="*/ 374511 w 572723"/>
                <a:gd name="connsiteY44" fmla="*/ 84644 h 608067"/>
                <a:gd name="connsiteX45" fmla="*/ 451737 w 572723"/>
                <a:gd name="connsiteY45" fmla="*/ 115729 h 608067"/>
                <a:gd name="connsiteX46" fmla="*/ 507901 w 572723"/>
                <a:gd name="connsiteY46" fmla="*/ 175892 h 608067"/>
                <a:gd name="connsiteX47" fmla="*/ 528963 w 572723"/>
                <a:gd name="connsiteY47" fmla="*/ 228034 h 608067"/>
                <a:gd name="connsiteX48" fmla="*/ 531972 w 572723"/>
                <a:gd name="connsiteY48" fmla="*/ 288198 h 608067"/>
                <a:gd name="connsiteX49" fmla="*/ 524951 w 572723"/>
                <a:gd name="connsiteY49" fmla="*/ 357386 h 608067"/>
                <a:gd name="connsiteX50" fmla="*/ 513919 w 572723"/>
                <a:gd name="connsiteY50" fmla="*/ 420557 h 608067"/>
                <a:gd name="connsiteX51" fmla="*/ 503890 w 572723"/>
                <a:gd name="connsiteY51" fmla="*/ 441615 h 608067"/>
                <a:gd name="connsiteX52" fmla="*/ 477813 w 572723"/>
                <a:gd name="connsiteY52" fmla="*/ 489746 h 608067"/>
                <a:gd name="connsiteX53" fmla="*/ 434687 w 572723"/>
                <a:gd name="connsiteY53" fmla="*/ 527849 h 608067"/>
                <a:gd name="connsiteX54" fmla="*/ 436693 w 572723"/>
                <a:gd name="connsiteY54" fmla="*/ 526846 h 608067"/>
                <a:gd name="connsiteX55" fmla="*/ 385543 w 572723"/>
                <a:gd name="connsiteY55" fmla="*/ 545898 h 608067"/>
                <a:gd name="connsiteX56" fmla="*/ 381531 w 572723"/>
                <a:gd name="connsiteY56" fmla="*/ 547904 h 608067"/>
                <a:gd name="connsiteX57" fmla="*/ 361473 w 572723"/>
                <a:gd name="connsiteY57" fmla="*/ 550912 h 608067"/>
                <a:gd name="connsiteX58" fmla="*/ 320352 w 572723"/>
                <a:gd name="connsiteY58" fmla="*/ 556928 h 608067"/>
                <a:gd name="connsiteX59" fmla="*/ 254158 w 572723"/>
                <a:gd name="connsiteY59" fmla="*/ 553920 h 608067"/>
                <a:gd name="connsiteX60" fmla="*/ 247138 w 572723"/>
                <a:gd name="connsiteY60" fmla="*/ 552917 h 608067"/>
                <a:gd name="connsiteX61" fmla="*/ 184956 w 572723"/>
                <a:gd name="connsiteY61" fmla="*/ 529855 h 608067"/>
                <a:gd name="connsiteX62" fmla="*/ 133806 w 572723"/>
                <a:gd name="connsiteY62" fmla="*/ 500776 h 608067"/>
                <a:gd name="connsiteX63" fmla="*/ 112744 w 572723"/>
                <a:gd name="connsiteY63" fmla="*/ 490748 h 608067"/>
                <a:gd name="connsiteX64" fmla="*/ 100709 w 572723"/>
                <a:gd name="connsiteY64" fmla="*/ 480721 h 608067"/>
                <a:gd name="connsiteX65" fmla="*/ 87671 w 572723"/>
                <a:gd name="connsiteY65" fmla="*/ 464677 h 608067"/>
                <a:gd name="connsiteX66" fmla="*/ 64603 w 572723"/>
                <a:gd name="connsiteY66" fmla="*/ 425571 h 608067"/>
                <a:gd name="connsiteX67" fmla="*/ 56580 w 572723"/>
                <a:gd name="connsiteY67" fmla="*/ 407522 h 608067"/>
                <a:gd name="connsiteX68" fmla="*/ 55577 w 572723"/>
                <a:gd name="connsiteY68" fmla="*/ 395489 h 608067"/>
                <a:gd name="connsiteX69" fmla="*/ 51565 w 572723"/>
                <a:gd name="connsiteY69" fmla="*/ 369418 h 608067"/>
                <a:gd name="connsiteX70" fmla="*/ 47553 w 572723"/>
                <a:gd name="connsiteY70" fmla="*/ 347359 h 608067"/>
                <a:gd name="connsiteX71" fmla="*/ 43542 w 572723"/>
                <a:gd name="connsiteY71" fmla="*/ 325299 h 608067"/>
                <a:gd name="connsiteX72" fmla="*/ 43542 w 572723"/>
                <a:gd name="connsiteY72" fmla="*/ 328307 h 608067"/>
                <a:gd name="connsiteX73" fmla="*/ 48556 w 572723"/>
                <a:gd name="connsiteY73" fmla="*/ 280176 h 608067"/>
                <a:gd name="connsiteX74" fmla="*/ 61594 w 572723"/>
                <a:gd name="connsiteY74" fmla="*/ 205974 h 608067"/>
                <a:gd name="connsiteX75" fmla="*/ 89677 w 572723"/>
                <a:gd name="connsiteY75" fmla="*/ 139794 h 608067"/>
                <a:gd name="connsiteX76" fmla="*/ 82656 w 572723"/>
                <a:gd name="connsiteY76" fmla="*/ 147816 h 608067"/>
                <a:gd name="connsiteX77" fmla="*/ 132803 w 572723"/>
                <a:gd name="connsiteY77" fmla="*/ 87653 h 608067"/>
                <a:gd name="connsiteX78" fmla="*/ 143835 w 572723"/>
                <a:gd name="connsiteY78" fmla="*/ 81636 h 608067"/>
                <a:gd name="connsiteX79" fmla="*/ 151859 w 572723"/>
                <a:gd name="connsiteY79" fmla="*/ 74617 h 608067"/>
                <a:gd name="connsiteX80" fmla="*/ 153865 w 572723"/>
                <a:gd name="connsiteY80" fmla="*/ 75620 h 608067"/>
                <a:gd name="connsiteX81" fmla="*/ 171917 w 572723"/>
                <a:gd name="connsiteY81" fmla="*/ 64590 h 608067"/>
                <a:gd name="connsiteX82" fmla="*/ 176932 w 572723"/>
                <a:gd name="connsiteY82" fmla="*/ 60579 h 608067"/>
                <a:gd name="connsiteX83" fmla="*/ 184956 w 572723"/>
                <a:gd name="connsiteY83" fmla="*/ 58573 h 608067"/>
                <a:gd name="connsiteX84" fmla="*/ 184956 w 572723"/>
                <a:gd name="connsiteY84" fmla="*/ 58573 h 608067"/>
                <a:gd name="connsiteX85" fmla="*/ 189970 w 572723"/>
                <a:gd name="connsiteY85" fmla="*/ 56568 h 608067"/>
                <a:gd name="connsiteX86" fmla="*/ 206018 w 572723"/>
                <a:gd name="connsiteY86" fmla="*/ 45538 h 608067"/>
                <a:gd name="connsiteX87" fmla="*/ 223067 w 572723"/>
                <a:gd name="connsiteY87" fmla="*/ 35511 h 608067"/>
                <a:gd name="connsiteX88" fmla="*/ 225073 w 572723"/>
                <a:gd name="connsiteY88" fmla="*/ 35511 h 608067"/>
                <a:gd name="connsiteX89" fmla="*/ 228082 w 572723"/>
                <a:gd name="connsiteY89" fmla="*/ 32503 h 608067"/>
                <a:gd name="connsiteX90" fmla="*/ 234100 w 572723"/>
                <a:gd name="connsiteY90" fmla="*/ 31500 h 608067"/>
                <a:gd name="connsiteX91" fmla="*/ 233097 w 572723"/>
                <a:gd name="connsiteY91" fmla="*/ 31500 h 608067"/>
                <a:gd name="connsiteX92" fmla="*/ 239114 w 572723"/>
                <a:gd name="connsiteY92" fmla="*/ 30497 h 608067"/>
                <a:gd name="connsiteX93" fmla="*/ 240117 w 572723"/>
                <a:gd name="connsiteY93" fmla="*/ 32503 h 608067"/>
                <a:gd name="connsiteX94" fmla="*/ 250147 w 572723"/>
                <a:gd name="connsiteY94" fmla="*/ 30497 h 608067"/>
                <a:gd name="connsiteX95" fmla="*/ 219056 w 572723"/>
                <a:gd name="connsiteY95" fmla="*/ 31500 h 608067"/>
                <a:gd name="connsiteX96" fmla="*/ 234100 w 572723"/>
                <a:gd name="connsiteY96" fmla="*/ 27489 h 608067"/>
                <a:gd name="connsiteX97" fmla="*/ 245132 w 572723"/>
                <a:gd name="connsiteY97" fmla="*/ 27489 h 608067"/>
                <a:gd name="connsiteX98" fmla="*/ 258170 w 572723"/>
                <a:gd name="connsiteY98" fmla="*/ 27489 h 608067"/>
                <a:gd name="connsiteX99" fmla="*/ 265191 w 572723"/>
                <a:gd name="connsiteY99" fmla="*/ 25483 h 608067"/>
                <a:gd name="connsiteX100" fmla="*/ 273214 w 572723"/>
                <a:gd name="connsiteY100" fmla="*/ 26486 h 608067"/>
                <a:gd name="connsiteX101" fmla="*/ 261179 w 572723"/>
                <a:gd name="connsiteY101" fmla="*/ 27489 h 608067"/>
                <a:gd name="connsiteX102" fmla="*/ 266194 w 572723"/>
                <a:gd name="connsiteY102" fmla="*/ 28492 h 608067"/>
                <a:gd name="connsiteX103" fmla="*/ 273214 w 572723"/>
                <a:gd name="connsiteY103" fmla="*/ 28492 h 608067"/>
                <a:gd name="connsiteX104" fmla="*/ 287255 w 572723"/>
                <a:gd name="connsiteY104" fmla="*/ 28492 h 608067"/>
                <a:gd name="connsiteX105" fmla="*/ 293273 w 572723"/>
                <a:gd name="connsiteY105" fmla="*/ 31500 h 608067"/>
                <a:gd name="connsiteX106" fmla="*/ 297285 w 572723"/>
                <a:gd name="connsiteY106" fmla="*/ 30497 h 608067"/>
                <a:gd name="connsiteX107" fmla="*/ 289261 w 572723"/>
                <a:gd name="connsiteY107" fmla="*/ 25483 h 608067"/>
                <a:gd name="connsiteX108" fmla="*/ 300294 w 572723"/>
                <a:gd name="connsiteY108" fmla="*/ 27489 h 608067"/>
                <a:gd name="connsiteX109" fmla="*/ 300294 w 572723"/>
                <a:gd name="connsiteY109" fmla="*/ 25483 h 608067"/>
                <a:gd name="connsiteX110" fmla="*/ 310323 w 572723"/>
                <a:gd name="connsiteY110" fmla="*/ 27489 h 608067"/>
                <a:gd name="connsiteX111" fmla="*/ 307314 w 572723"/>
                <a:gd name="connsiteY111" fmla="*/ 26486 h 608067"/>
                <a:gd name="connsiteX112" fmla="*/ 296282 w 572723"/>
                <a:gd name="connsiteY112" fmla="*/ 28492 h 608067"/>
                <a:gd name="connsiteX113" fmla="*/ 286252 w 572723"/>
                <a:gd name="connsiteY113" fmla="*/ 30497 h 608067"/>
                <a:gd name="connsiteX114" fmla="*/ 299291 w 572723"/>
                <a:gd name="connsiteY114" fmla="*/ 27489 h 608067"/>
                <a:gd name="connsiteX115" fmla="*/ 311326 w 572723"/>
                <a:gd name="connsiteY115" fmla="*/ 26486 h 608067"/>
                <a:gd name="connsiteX116" fmla="*/ 311326 w 572723"/>
                <a:gd name="connsiteY116" fmla="*/ 23478 h 608067"/>
                <a:gd name="connsiteX117" fmla="*/ 307314 w 572723"/>
                <a:gd name="connsiteY117" fmla="*/ 24481 h 608067"/>
                <a:gd name="connsiteX118" fmla="*/ 303302 w 572723"/>
                <a:gd name="connsiteY118" fmla="*/ 20470 h 608067"/>
                <a:gd name="connsiteX119" fmla="*/ 296282 w 572723"/>
                <a:gd name="connsiteY119" fmla="*/ 23478 h 608067"/>
                <a:gd name="connsiteX120" fmla="*/ 288258 w 572723"/>
                <a:gd name="connsiteY120" fmla="*/ 25483 h 608067"/>
                <a:gd name="connsiteX121" fmla="*/ 286252 w 572723"/>
                <a:gd name="connsiteY121" fmla="*/ 24481 h 608067"/>
                <a:gd name="connsiteX122" fmla="*/ 298288 w 572723"/>
                <a:gd name="connsiteY122" fmla="*/ 25483 h 608067"/>
                <a:gd name="connsiteX123" fmla="*/ 305308 w 572723"/>
                <a:gd name="connsiteY123" fmla="*/ 24481 h 608067"/>
                <a:gd name="connsiteX124" fmla="*/ 306311 w 572723"/>
                <a:gd name="connsiteY124" fmla="*/ 24481 h 608067"/>
                <a:gd name="connsiteX125" fmla="*/ 312329 w 572723"/>
                <a:gd name="connsiteY125" fmla="*/ 23478 h 608067"/>
                <a:gd name="connsiteX126" fmla="*/ 310323 w 572723"/>
                <a:gd name="connsiteY126" fmla="*/ 16459 h 608067"/>
                <a:gd name="connsiteX127" fmla="*/ 309320 w 572723"/>
                <a:gd name="connsiteY127" fmla="*/ 9440 h 608067"/>
                <a:gd name="connsiteX128" fmla="*/ 298288 w 572723"/>
                <a:gd name="connsiteY128" fmla="*/ 10443 h 608067"/>
                <a:gd name="connsiteX129" fmla="*/ 288258 w 572723"/>
                <a:gd name="connsiteY129" fmla="*/ 6432 h 608067"/>
                <a:gd name="connsiteX130" fmla="*/ 284246 w 572723"/>
                <a:gd name="connsiteY130" fmla="*/ 7434 h 608067"/>
                <a:gd name="connsiteX131" fmla="*/ 277226 w 572723"/>
                <a:gd name="connsiteY131" fmla="*/ 4426 h 608067"/>
                <a:gd name="connsiteX132" fmla="*/ 266194 w 572723"/>
                <a:gd name="connsiteY132" fmla="*/ 4426 h 608067"/>
                <a:gd name="connsiteX133" fmla="*/ 263185 w 572723"/>
                <a:gd name="connsiteY133" fmla="*/ 6432 h 608067"/>
                <a:gd name="connsiteX134" fmla="*/ 243126 w 572723"/>
                <a:gd name="connsiteY134" fmla="*/ 7434 h 608067"/>
                <a:gd name="connsiteX135" fmla="*/ 239114 w 572723"/>
                <a:gd name="connsiteY135" fmla="*/ 2421 h 608067"/>
                <a:gd name="connsiteX136" fmla="*/ 246135 w 572723"/>
                <a:gd name="connsiteY136" fmla="*/ 4426 h 608067"/>
                <a:gd name="connsiteX137" fmla="*/ 256164 w 572723"/>
                <a:gd name="connsiteY137" fmla="*/ 415 h 608067"/>
                <a:gd name="connsiteX138" fmla="*/ 241120 w 572723"/>
                <a:gd name="connsiteY138" fmla="*/ 1418 h 608067"/>
                <a:gd name="connsiteX139" fmla="*/ 242123 w 572723"/>
                <a:gd name="connsiteY139" fmla="*/ 1418 h 608067"/>
                <a:gd name="connsiteX140" fmla="*/ 222064 w 572723"/>
                <a:gd name="connsiteY140" fmla="*/ 4426 h 608067"/>
                <a:gd name="connsiteX141" fmla="*/ 224070 w 572723"/>
                <a:gd name="connsiteY141" fmla="*/ 1418 h 608067"/>
                <a:gd name="connsiteX142" fmla="*/ 217050 w 572723"/>
                <a:gd name="connsiteY142" fmla="*/ 2421 h 608067"/>
                <a:gd name="connsiteX143" fmla="*/ 217050 w 572723"/>
                <a:gd name="connsiteY143" fmla="*/ 3424 h 608067"/>
                <a:gd name="connsiteX144" fmla="*/ 208023 w 572723"/>
                <a:gd name="connsiteY144" fmla="*/ 5429 h 608067"/>
                <a:gd name="connsiteX145" fmla="*/ 191976 w 572723"/>
                <a:gd name="connsiteY145" fmla="*/ 13451 h 608067"/>
                <a:gd name="connsiteX146" fmla="*/ 177935 w 572723"/>
                <a:gd name="connsiteY146" fmla="*/ 22475 h 608067"/>
                <a:gd name="connsiteX147" fmla="*/ 167906 w 572723"/>
                <a:gd name="connsiteY147" fmla="*/ 26486 h 608067"/>
                <a:gd name="connsiteX148" fmla="*/ 173923 w 572723"/>
                <a:gd name="connsiteY148" fmla="*/ 23478 h 608067"/>
                <a:gd name="connsiteX149" fmla="*/ 186961 w 572723"/>
                <a:gd name="connsiteY149" fmla="*/ 15456 h 608067"/>
                <a:gd name="connsiteX150" fmla="*/ 200000 w 572723"/>
                <a:gd name="connsiteY150" fmla="*/ 8437 h 608067"/>
                <a:gd name="connsiteX151" fmla="*/ 203009 w 572723"/>
                <a:gd name="connsiteY151" fmla="*/ 6432 h 608067"/>
                <a:gd name="connsiteX152" fmla="*/ 192979 w 572723"/>
                <a:gd name="connsiteY152" fmla="*/ 10443 h 608067"/>
                <a:gd name="connsiteX153" fmla="*/ 175929 w 572723"/>
                <a:gd name="connsiteY153" fmla="*/ 19467 h 608067"/>
                <a:gd name="connsiteX154" fmla="*/ 159882 w 572723"/>
                <a:gd name="connsiteY154" fmla="*/ 29494 h 608067"/>
                <a:gd name="connsiteX155" fmla="*/ 151859 w 572723"/>
                <a:gd name="connsiteY155" fmla="*/ 34508 h 608067"/>
                <a:gd name="connsiteX156" fmla="*/ 146844 w 572723"/>
                <a:gd name="connsiteY156" fmla="*/ 39522 h 608067"/>
                <a:gd name="connsiteX157" fmla="*/ 142832 w 572723"/>
                <a:gd name="connsiteY157" fmla="*/ 38519 h 608067"/>
                <a:gd name="connsiteX158" fmla="*/ 141829 w 572723"/>
                <a:gd name="connsiteY158" fmla="*/ 39522 h 608067"/>
                <a:gd name="connsiteX159" fmla="*/ 137818 w 572723"/>
                <a:gd name="connsiteY159" fmla="*/ 40524 h 608067"/>
                <a:gd name="connsiteX160" fmla="*/ 124780 w 572723"/>
                <a:gd name="connsiteY160" fmla="*/ 50552 h 608067"/>
                <a:gd name="connsiteX161" fmla="*/ 112744 w 572723"/>
                <a:gd name="connsiteY161" fmla="*/ 62584 h 608067"/>
                <a:gd name="connsiteX162" fmla="*/ 118762 w 572723"/>
                <a:gd name="connsiteY162" fmla="*/ 50552 h 608067"/>
                <a:gd name="connsiteX163" fmla="*/ 119765 w 572723"/>
                <a:gd name="connsiteY163" fmla="*/ 50552 h 608067"/>
                <a:gd name="connsiteX164" fmla="*/ 122774 w 572723"/>
                <a:gd name="connsiteY164" fmla="*/ 45538 h 608067"/>
                <a:gd name="connsiteX165" fmla="*/ 109736 w 572723"/>
                <a:gd name="connsiteY165" fmla="*/ 57571 h 608067"/>
                <a:gd name="connsiteX166" fmla="*/ 106727 w 572723"/>
                <a:gd name="connsiteY166" fmla="*/ 59576 h 608067"/>
                <a:gd name="connsiteX167" fmla="*/ 106727 w 572723"/>
                <a:gd name="connsiteY167" fmla="*/ 59576 h 608067"/>
                <a:gd name="connsiteX168" fmla="*/ 104721 w 572723"/>
                <a:gd name="connsiteY168" fmla="*/ 59576 h 608067"/>
                <a:gd name="connsiteX169" fmla="*/ 104721 w 572723"/>
                <a:gd name="connsiteY169" fmla="*/ 58573 h 608067"/>
                <a:gd name="connsiteX170" fmla="*/ 93688 w 572723"/>
                <a:gd name="connsiteY170" fmla="*/ 68601 h 608067"/>
                <a:gd name="connsiteX171" fmla="*/ 80650 w 572723"/>
                <a:gd name="connsiteY171" fmla="*/ 84644 h 608067"/>
                <a:gd name="connsiteX172" fmla="*/ 78644 w 572723"/>
                <a:gd name="connsiteY172" fmla="*/ 88655 h 608067"/>
                <a:gd name="connsiteX173" fmla="*/ 58586 w 572723"/>
                <a:gd name="connsiteY173" fmla="*/ 112721 h 608067"/>
                <a:gd name="connsiteX174" fmla="*/ 61594 w 572723"/>
                <a:gd name="connsiteY174" fmla="*/ 113723 h 608067"/>
                <a:gd name="connsiteX175" fmla="*/ 56580 w 572723"/>
                <a:gd name="connsiteY175" fmla="*/ 121745 h 608067"/>
                <a:gd name="connsiteX176" fmla="*/ 51565 w 572723"/>
                <a:gd name="connsiteY176" fmla="*/ 123751 h 608067"/>
                <a:gd name="connsiteX177" fmla="*/ 46550 w 572723"/>
                <a:gd name="connsiteY177" fmla="*/ 124753 h 608067"/>
                <a:gd name="connsiteX178" fmla="*/ 40533 w 572723"/>
                <a:gd name="connsiteY178" fmla="*/ 136786 h 608067"/>
                <a:gd name="connsiteX179" fmla="*/ 39530 w 572723"/>
                <a:gd name="connsiteY179" fmla="*/ 144808 h 608067"/>
                <a:gd name="connsiteX180" fmla="*/ 31506 w 572723"/>
                <a:gd name="connsiteY180" fmla="*/ 156841 h 608067"/>
                <a:gd name="connsiteX181" fmla="*/ 29501 w 572723"/>
                <a:gd name="connsiteY181" fmla="*/ 154835 h 608067"/>
                <a:gd name="connsiteX182" fmla="*/ 19471 w 572723"/>
                <a:gd name="connsiteY182" fmla="*/ 173887 h 608067"/>
                <a:gd name="connsiteX183" fmla="*/ 16462 w 572723"/>
                <a:gd name="connsiteY183" fmla="*/ 194944 h 608067"/>
                <a:gd name="connsiteX184" fmla="*/ 17465 w 572723"/>
                <a:gd name="connsiteY184" fmla="*/ 206977 h 608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</a:cxnLst>
              <a:rect l="l" t="t" r="r" b="b"/>
              <a:pathLst>
                <a:path w="572723" h="608067">
                  <a:moveTo>
                    <a:pt x="17465" y="206977"/>
                  </a:moveTo>
                  <a:lnTo>
                    <a:pt x="15460" y="213996"/>
                  </a:lnTo>
                  <a:cubicBezTo>
                    <a:pt x="20474" y="189931"/>
                    <a:pt x="29501" y="165865"/>
                    <a:pt x="40533" y="142802"/>
                  </a:cubicBezTo>
                  <a:cubicBezTo>
                    <a:pt x="25489" y="165865"/>
                    <a:pt x="12451" y="194944"/>
                    <a:pt x="6433" y="223020"/>
                  </a:cubicBezTo>
                  <a:cubicBezTo>
                    <a:pt x="415" y="251097"/>
                    <a:pt x="1418" y="279173"/>
                    <a:pt x="8439" y="300230"/>
                  </a:cubicBezTo>
                  <a:cubicBezTo>
                    <a:pt x="4427" y="302236"/>
                    <a:pt x="1418" y="317277"/>
                    <a:pt x="415" y="331315"/>
                  </a:cubicBezTo>
                  <a:cubicBezTo>
                    <a:pt x="-588" y="345353"/>
                    <a:pt x="415" y="359391"/>
                    <a:pt x="1418" y="359391"/>
                  </a:cubicBezTo>
                  <a:cubicBezTo>
                    <a:pt x="4427" y="370421"/>
                    <a:pt x="7436" y="381451"/>
                    <a:pt x="10445" y="392481"/>
                  </a:cubicBezTo>
                  <a:cubicBezTo>
                    <a:pt x="8439" y="384459"/>
                    <a:pt x="6433" y="377440"/>
                    <a:pt x="4427" y="369418"/>
                  </a:cubicBezTo>
                  <a:cubicBezTo>
                    <a:pt x="6433" y="376438"/>
                    <a:pt x="8439" y="384459"/>
                    <a:pt x="10445" y="392481"/>
                  </a:cubicBezTo>
                  <a:cubicBezTo>
                    <a:pt x="15460" y="409527"/>
                    <a:pt x="21477" y="427577"/>
                    <a:pt x="29501" y="445626"/>
                  </a:cubicBezTo>
                  <a:cubicBezTo>
                    <a:pt x="37524" y="463675"/>
                    <a:pt x="47553" y="480721"/>
                    <a:pt x="60592" y="496765"/>
                  </a:cubicBezTo>
                  <a:cubicBezTo>
                    <a:pt x="86668" y="527849"/>
                    <a:pt x="120768" y="551915"/>
                    <a:pt x="156873" y="569964"/>
                  </a:cubicBezTo>
                  <a:cubicBezTo>
                    <a:pt x="176932" y="579991"/>
                    <a:pt x="216047" y="594029"/>
                    <a:pt x="257167" y="601048"/>
                  </a:cubicBezTo>
                  <a:cubicBezTo>
                    <a:pt x="278229" y="605059"/>
                    <a:pt x="299291" y="607064"/>
                    <a:pt x="317343" y="608067"/>
                  </a:cubicBezTo>
                  <a:cubicBezTo>
                    <a:pt x="336399" y="608067"/>
                    <a:pt x="353449" y="608067"/>
                    <a:pt x="364481" y="607064"/>
                  </a:cubicBezTo>
                  <a:cubicBezTo>
                    <a:pt x="371502" y="606062"/>
                    <a:pt x="378522" y="606062"/>
                    <a:pt x="385543" y="604056"/>
                  </a:cubicBezTo>
                  <a:cubicBezTo>
                    <a:pt x="373508" y="606062"/>
                    <a:pt x="373508" y="605059"/>
                    <a:pt x="362475" y="606062"/>
                  </a:cubicBezTo>
                  <a:cubicBezTo>
                    <a:pt x="390558" y="600045"/>
                    <a:pt x="415631" y="591021"/>
                    <a:pt x="438699" y="578988"/>
                  </a:cubicBezTo>
                  <a:cubicBezTo>
                    <a:pt x="433684" y="579991"/>
                    <a:pt x="432681" y="578988"/>
                    <a:pt x="422652" y="580994"/>
                  </a:cubicBezTo>
                  <a:cubicBezTo>
                    <a:pt x="426664" y="579991"/>
                    <a:pt x="430675" y="578988"/>
                    <a:pt x="434687" y="576983"/>
                  </a:cubicBezTo>
                  <a:cubicBezTo>
                    <a:pt x="444716" y="569964"/>
                    <a:pt x="467784" y="555925"/>
                    <a:pt x="476810" y="546901"/>
                  </a:cubicBezTo>
                  <a:cubicBezTo>
                    <a:pt x="475807" y="549909"/>
                    <a:pt x="483831" y="543893"/>
                    <a:pt x="490852" y="537876"/>
                  </a:cubicBezTo>
                  <a:lnTo>
                    <a:pt x="487843" y="538879"/>
                  </a:lnTo>
                  <a:cubicBezTo>
                    <a:pt x="500881" y="527849"/>
                    <a:pt x="512916" y="513811"/>
                    <a:pt x="521943" y="498770"/>
                  </a:cubicBezTo>
                  <a:cubicBezTo>
                    <a:pt x="530969" y="483729"/>
                    <a:pt x="537989" y="467686"/>
                    <a:pt x="543004" y="454650"/>
                  </a:cubicBezTo>
                  <a:cubicBezTo>
                    <a:pt x="544007" y="450639"/>
                    <a:pt x="546013" y="448634"/>
                    <a:pt x="547016" y="446628"/>
                  </a:cubicBezTo>
                  <a:cubicBezTo>
                    <a:pt x="549022" y="437604"/>
                    <a:pt x="552031" y="428579"/>
                    <a:pt x="553033" y="419555"/>
                  </a:cubicBezTo>
                  <a:cubicBezTo>
                    <a:pt x="555039" y="422563"/>
                    <a:pt x="560054" y="397495"/>
                    <a:pt x="559051" y="411533"/>
                  </a:cubicBezTo>
                  <a:cubicBezTo>
                    <a:pt x="561057" y="390476"/>
                    <a:pt x="566072" y="371424"/>
                    <a:pt x="566072" y="352372"/>
                  </a:cubicBezTo>
                  <a:cubicBezTo>
                    <a:pt x="571086" y="319282"/>
                    <a:pt x="575098" y="283184"/>
                    <a:pt x="571086" y="246083"/>
                  </a:cubicBezTo>
                  <a:cubicBezTo>
                    <a:pt x="567075" y="208982"/>
                    <a:pt x="552031" y="171881"/>
                    <a:pt x="528963" y="144808"/>
                  </a:cubicBezTo>
                  <a:lnTo>
                    <a:pt x="528963" y="146813"/>
                  </a:lnTo>
                  <a:cubicBezTo>
                    <a:pt x="512916" y="127762"/>
                    <a:pt x="493860" y="114726"/>
                    <a:pt x="469790" y="96677"/>
                  </a:cubicBezTo>
                  <a:cubicBezTo>
                    <a:pt x="459760" y="91663"/>
                    <a:pt x="447725" y="86650"/>
                    <a:pt x="437696" y="83642"/>
                  </a:cubicBezTo>
                  <a:cubicBezTo>
                    <a:pt x="432681" y="81636"/>
                    <a:pt x="427666" y="80633"/>
                    <a:pt x="422652" y="80633"/>
                  </a:cubicBezTo>
                  <a:cubicBezTo>
                    <a:pt x="418640" y="80633"/>
                    <a:pt x="414628" y="79631"/>
                    <a:pt x="412622" y="80633"/>
                  </a:cubicBezTo>
                  <a:cubicBezTo>
                    <a:pt x="406605" y="79631"/>
                    <a:pt x="401590" y="78628"/>
                    <a:pt x="397578" y="77625"/>
                  </a:cubicBezTo>
                  <a:cubicBezTo>
                    <a:pt x="392564" y="77625"/>
                    <a:pt x="388552" y="76623"/>
                    <a:pt x="384540" y="76623"/>
                  </a:cubicBezTo>
                  <a:cubicBezTo>
                    <a:pt x="380528" y="76623"/>
                    <a:pt x="376517" y="76623"/>
                    <a:pt x="372505" y="76623"/>
                  </a:cubicBezTo>
                  <a:cubicBezTo>
                    <a:pt x="368493" y="76623"/>
                    <a:pt x="363478" y="76623"/>
                    <a:pt x="357461" y="77625"/>
                  </a:cubicBezTo>
                  <a:cubicBezTo>
                    <a:pt x="360470" y="78628"/>
                    <a:pt x="355455" y="79631"/>
                    <a:pt x="350440" y="80633"/>
                  </a:cubicBezTo>
                  <a:cubicBezTo>
                    <a:pt x="346429" y="81636"/>
                    <a:pt x="341414" y="82639"/>
                    <a:pt x="347431" y="82639"/>
                  </a:cubicBezTo>
                  <a:cubicBezTo>
                    <a:pt x="361473" y="85647"/>
                    <a:pt x="362475" y="82639"/>
                    <a:pt x="374511" y="85647"/>
                  </a:cubicBezTo>
                  <a:lnTo>
                    <a:pt x="374511" y="84644"/>
                  </a:lnTo>
                  <a:cubicBezTo>
                    <a:pt x="402593" y="88655"/>
                    <a:pt x="428669" y="99685"/>
                    <a:pt x="451737" y="115729"/>
                  </a:cubicBezTo>
                  <a:cubicBezTo>
                    <a:pt x="474804" y="131772"/>
                    <a:pt x="494863" y="151827"/>
                    <a:pt x="507901" y="175892"/>
                  </a:cubicBezTo>
                  <a:cubicBezTo>
                    <a:pt x="518934" y="190933"/>
                    <a:pt x="525954" y="208982"/>
                    <a:pt x="528963" y="228034"/>
                  </a:cubicBezTo>
                  <a:cubicBezTo>
                    <a:pt x="532975" y="247086"/>
                    <a:pt x="532975" y="268143"/>
                    <a:pt x="531972" y="288198"/>
                  </a:cubicBezTo>
                  <a:cubicBezTo>
                    <a:pt x="530969" y="310258"/>
                    <a:pt x="527960" y="334323"/>
                    <a:pt x="524951" y="357386"/>
                  </a:cubicBezTo>
                  <a:cubicBezTo>
                    <a:pt x="521943" y="380448"/>
                    <a:pt x="518934" y="402508"/>
                    <a:pt x="513919" y="420557"/>
                  </a:cubicBezTo>
                  <a:cubicBezTo>
                    <a:pt x="511913" y="429582"/>
                    <a:pt x="507901" y="434596"/>
                    <a:pt x="503890" y="441615"/>
                  </a:cubicBezTo>
                  <a:cubicBezTo>
                    <a:pt x="497872" y="457658"/>
                    <a:pt x="489849" y="474705"/>
                    <a:pt x="477813" y="489746"/>
                  </a:cubicBezTo>
                  <a:cubicBezTo>
                    <a:pt x="465778" y="504786"/>
                    <a:pt x="450734" y="517822"/>
                    <a:pt x="434687" y="527849"/>
                  </a:cubicBezTo>
                  <a:cubicBezTo>
                    <a:pt x="435690" y="527849"/>
                    <a:pt x="435690" y="526846"/>
                    <a:pt x="436693" y="526846"/>
                  </a:cubicBezTo>
                  <a:cubicBezTo>
                    <a:pt x="419643" y="536874"/>
                    <a:pt x="404599" y="540885"/>
                    <a:pt x="385543" y="545898"/>
                  </a:cubicBezTo>
                  <a:cubicBezTo>
                    <a:pt x="385543" y="546901"/>
                    <a:pt x="382534" y="547904"/>
                    <a:pt x="381531" y="547904"/>
                  </a:cubicBezTo>
                  <a:cubicBezTo>
                    <a:pt x="380528" y="546901"/>
                    <a:pt x="372505" y="548906"/>
                    <a:pt x="361473" y="550912"/>
                  </a:cubicBezTo>
                  <a:cubicBezTo>
                    <a:pt x="350440" y="552917"/>
                    <a:pt x="335396" y="554923"/>
                    <a:pt x="320352" y="556928"/>
                  </a:cubicBezTo>
                  <a:cubicBezTo>
                    <a:pt x="289261" y="558934"/>
                    <a:pt x="257167" y="555925"/>
                    <a:pt x="254158" y="553920"/>
                  </a:cubicBezTo>
                  <a:cubicBezTo>
                    <a:pt x="252152" y="553920"/>
                    <a:pt x="250147" y="552917"/>
                    <a:pt x="247138" y="552917"/>
                  </a:cubicBezTo>
                  <a:cubicBezTo>
                    <a:pt x="226076" y="547904"/>
                    <a:pt x="204012" y="539882"/>
                    <a:pt x="184956" y="529855"/>
                  </a:cubicBezTo>
                  <a:cubicBezTo>
                    <a:pt x="165900" y="520830"/>
                    <a:pt x="148850" y="509800"/>
                    <a:pt x="133806" y="500776"/>
                  </a:cubicBezTo>
                  <a:cubicBezTo>
                    <a:pt x="126785" y="497767"/>
                    <a:pt x="118762" y="493756"/>
                    <a:pt x="112744" y="490748"/>
                  </a:cubicBezTo>
                  <a:cubicBezTo>
                    <a:pt x="108733" y="485735"/>
                    <a:pt x="105724" y="486737"/>
                    <a:pt x="100709" y="480721"/>
                  </a:cubicBezTo>
                  <a:cubicBezTo>
                    <a:pt x="91682" y="462672"/>
                    <a:pt x="84662" y="454650"/>
                    <a:pt x="87671" y="464677"/>
                  </a:cubicBezTo>
                  <a:cubicBezTo>
                    <a:pt x="76638" y="452645"/>
                    <a:pt x="69618" y="438607"/>
                    <a:pt x="64603" y="425571"/>
                  </a:cubicBezTo>
                  <a:cubicBezTo>
                    <a:pt x="61594" y="419555"/>
                    <a:pt x="58586" y="413538"/>
                    <a:pt x="56580" y="407522"/>
                  </a:cubicBezTo>
                  <a:cubicBezTo>
                    <a:pt x="54574" y="402508"/>
                    <a:pt x="54574" y="398498"/>
                    <a:pt x="55577" y="395489"/>
                  </a:cubicBezTo>
                  <a:cubicBezTo>
                    <a:pt x="51565" y="381451"/>
                    <a:pt x="53571" y="385462"/>
                    <a:pt x="51565" y="369418"/>
                  </a:cubicBezTo>
                  <a:cubicBezTo>
                    <a:pt x="52568" y="367413"/>
                    <a:pt x="49559" y="357386"/>
                    <a:pt x="47553" y="347359"/>
                  </a:cubicBezTo>
                  <a:cubicBezTo>
                    <a:pt x="45548" y="337331"/>
                    <a:pt x="43542" y="327304"/>
                    <a:pt x="43542" y="325299"/>
                  </a:cubicBezTo>
                  <a:lnTo>
                    <a:pt x="43542" y="328307"/>
                  </a:lnTo>
                  <a:cubicBezTo>
                    <a:pt x="42539" y="309255"/>
                    <a:pt x="47553" y="297222"/>
                    <a:pt x="48556" y="280176"/>
                  </a:cubicBezTo>
                  <a:cubicBezTo>
                    <a:pt x="50562" y="255108"/>
                    <a:pt x="54574" y="230040"/>
                    <a:pt x="61594" y="205974"/>
                  </a:cubicBezTo>
                  <a:cubicBezTo>
                    <a:pt x="67612" y="181909"/>
                    <a:pt x="77641" y="158846"/>
                    <a:pt x="89677" y="139794"/>
                  </a:cubicBezTo>
                  <a:cubicBezTo>
                    <a:pt x="87671" y="137789"/>
                    <a:pt x="85665" y="148819"/>
                    <a:pt x="82656" y="147816"/>
                  </a:cubicBezTo>
                  <a:cubicBezTo>
                    <a:pt x="95694" y="123751"/>
                    <a:pt x="113747" y="104699"/>
                    <a:pt x="132803" y="87653"/>
                  </a:cubicBezTo>
                  <a:cubicBezTo>
                    <a:pt x="136815" y="84644"/>
                    <a:pt x="141829" y="82639"/>
                    <a:pt x="143835" y="81636"/>
                  </a:cubicBezTo>
                  <a:cubicBezTo>
                    <a:pt x="150856" y="76623"/>
                    <a:pt x="146844" y="77625"/>
                    <a:pt x="151859" y="74617"/>
                  </a:cubicBezTo>
                  <a:lnTo>
                    <a:pt x="153865" y="75620"/>
                  </a:lnTo>
                  <a:cubicBezTo>
                    <a:pt x="159882" y="68601"/>
                    <a:pt x="165900" y="70606"/>
                    <a:pt x="171917" y="64590"/>
                  </a:cubicBezTo>
                  <a:cubicBezTo>
                    <a:pt x="171917" y="63587"/>
                    <a:pt x="173923" y="61582"/>
                    <a:pt x="176932" y="60579"/>
                  </a:cubicBezTo>
                  <a:cubicBezTo>
                    <a:pt x="177935" y="62584"/>
                    <a:pt x="184956" y="55565"/>
                    <a:pt x="184956" y="58573"/>
                  </a:cubicBezTo>
                  <a:lnTo>
                    <a:pt x="184956" y="58573"/>
                  </a:lnTo>
                  <a:cubicBezTo>
                    <a:pt x="186961" y="57571"/>
                    <a:pt x="187964" y="57571"/>
                    <a:pt x="189970" y="56568"/>
                  </a:cubicBezTo>
                  <a:cubicBezTo>
                    <a:pt x="190973" y="55565"/>
                    <a:pt x="197994" y="49549"/>
                    <a:pt x="206018" y="45538"/>
                  </a:cubicBezTo>
                  <a:cubicBezTo>
                    <a:pt x="213038" y="40524"/>
                    <a:pt x="221062" y="36513"/>
                    <a:pt x="223067" y="35511"/>
                  </a:cubicBezTo>
                  <a:lnTo>
                    <a:pt x="225073" y="35511"/>
                  </a:lnTo>
                  <a:cubicBezTo>
                    <a:pt x="230088" y="34508"/>
                    <a:pt x="231091" y="32503"/>
                    <a:pt x="228082" y="32503"/>
                  </a:cubicBezTo>
                  <a:lnTo>
                    <a:pt x="234100" y="31500"/>
                  </a:lnTo>
                  <a:lnTo>
                    <a:pt x="233097" y="31500"/>
                  </a:lnTo>
                  <a:lnTo>
                    <a:pt x="239114" y="30497"/>
                  </a:lnTo>
                  <a:cubicBezTo>
                    <a:pt x="240117" y="30497"/>
                    <a:pt x="241120" y="31500"/>
                    <a:pt x="240117" y="32503"/>
                  </a:cubicBezTo>
                  <a:cubicBezTo>
                    <a:pt x="243126" y="31500"/>
                    <a:pt x="247138" y="30497"/>
                    <a:pt x="250147" y="30497"/>
                  </a:cubicBezTo>
                  <a:cubicBezTo>
                    <a:pt x="241120" y="30497"/>
                    <a:pt x="229085" y="30497"/>
                    <a:pt x="219056" y="31500"/>
                  </a:cubicBezTo>
                  <a:cubicBezTo>
                    <a:pt x="223067" y="29494"/>
                    <a:pt x="230088" y="29494"/>
                    <a:pt x="234100" y="27489"/>
                  </a:cubicBezTo>
                  <a:cubicBezTo>
                    <a:pt x="237108" y="27489"/>
                    <a:pt x="241120" y="27489"/>
                    <a:pt x="245132" y="27489"/>
                  </a:cubicBezTo>
                  <a:cubicBezTo>
                    <a:pt x="249144" y="27489"/>
                    <a:pt x="254158" y="27489"/>
                    <a:pt x="258170" y="27489"/>
                  </a:cubicBezTo>
                  <a:cubicBezTo>
                    <a:pt x="260176" y="27489"/>
                    <a:pt x="261179" y="24481"/>
                    <a:pt x="265191" y="25483"/>
                  </a:cubicBezTo>
                  <a:cubicBezTo>
                    <a:pt x="267196" y="27489"/>
                    <a:pt x="270205" y="25483"/>
                    <a:pt x="273214" y="26486"/>
                  </a:cubicBezTo>
                  <a:cubicBezTo>
                    <a:pt x="269202" y="27489"/>
                    <a:pt x="265191" y="27489"/>
                    <a:pt x="261179" y="27489"/>
                  </a:cubicBezTo>
                  <a:cubicBezTo>
                    <a:pt x="261179" y="28492"/>
                    <a:pt x="264188" y="28492"/>
                    <a:pt x="266194" y="28492"/>
                  </a:cubicBezTo>
                  <a:cubicBezTo>
                    <a:pt x="269202" y="28492"/>
                    <a:pt x="272211" y="28492"/>
                    <a:pt x="273214" y="28492"/>
                  </a:cubicBezTo>
                  <a:cubicBezTo>
                    <a:pt x="274217" y="27489"/>
                    <a:pt x="282240" y="28492"/>
                    <a:pt x="287255" y="28492"/>
                  </a:cubicBezTo>
                  <a:cubicBezTo>
                    <a:pt x="285249" y="30497"/>
                    <a:pt x="291267" y="30497"/>
                    <a:pt x="293273" y="31500"/>
                  </a:cubicBezTo>
                  <a:cubicBezTo>
                    <a:pt x="296282" y="31500"/>
                    <a:pt x="298288" y="31500"/>
                    <a:pt x="297285" y="30497"/>
                  </a:cubicBezTo>
                  <a:cubicBezTo>
                    <a:pt x="298288" y="28492"/>
                    <a:pt x="285249" y="27489"/>
                    <a:pt x="289261" y="25483"/>
                  </a:cubicBezTo>
                  <a:cubicBezTo>
                    <a:pt x="290264" y="26486"/>
                    <a:pt x="296282" y="26486"/>
                    <a:pt x="300294" y="27489"/>
                  </a:cubicBezTo>
                  <a:cubicBezTo>
                    <a:pt x="300294" y="26486"/>
                    <a:pt x="298288" y="26486"/>
                    <a:pt x="300294" y="25483"/>
                  </a:cubicBezTo>
                  <a:cubicBezTo>
                    <a:pt x="304305" y="26486"/>
                    <a:pt x="308317" y="25483"/>
                    <a:pt x="310323" y="27489"/>
                  </a:cubicBezTo>
                  <a:cubicBezTo>
                    <a:pt x="309320" y="27489"/>
                    <a:pt x="308317" y="27489"/>
                    <a:pt x="307314" y="26486"/>
                  </a:cubicBezTo>
                  <a:cubicBezTo>
                    <a:pt x="309320" y="27489"/>
                    <a:pt x="302299" y="27489"/>
                    <a:pt x="296282" y="28492"/>
                  </a:cubicBezTo>
                  <a:cubicBezTo>
                    <a:pt x="289261" y="29494"/>
                    <a:pt x="283243" y="31500"/>
                    <a:pt x="286252" y="30497"/>
                  </a:cubicBezTo>
                  <a:cubicBezTo>
                    <a:pt x="285249" y="30497"/>
                    <a:pt x="292270" y="28492"/>
                    <a:pt x="299291" y="27489"/>
                  </a:cubicBezTo>
                  <a:cubicBezTo>
                    <a:pt x="306311" y="27489"/>
                    <a:pt x="313332" y="26486"/>
                    <a:pt x="311326" y="26486"/>
                  </a:cubicBezTo>
                  <a:cubicBezTo>
                    <a:pt x="308317" y="25483"/>
                    <a:pt x="314335" y="24481"/>
                    <a:pt x="311326" y="23478"/>
                  </a:cubicBezTo>
                  <a:lnTo>
                    <a:pt x="307314" y="24481"/>
                  </a:lnTo>
                  <a:cubicBezTo>
                    <a:pt x="303302" y="23478"/>
                    <a:pt x="302299" y="20470"/>
                    <a:pt x="303302" y="20470"/>
                  </a:cubicBezTo>
                  <a:cubicBezTo>
                    <a:pt x="307314" y="21473"/>
                    <a:pt x="301297" y="22475"/>
                    <a:pt x="296282" y="23478"/>
                  </a:cubicBezTo>
                  <a:cubicBezTo>
                    <a:pt x="291267" y="24481"/>
                    <a:pt x="285249" y="26486"/>
                    <a:pt x="288258" y="25483"/>
                  </a:cubicBezTo>
                  <a:lnTo>
                    <a:pt x="286252" y="24481"/>
                  </a:lnTo>
                  <a:cubicBezTo>
                    <a:pt x="289261" y="24481"/>
                    <a:pt x="296282" y="23478"/>
                    <a:pt x="298288" y="25483"/>
                  </a:cubicBezTo>
                  <a:cubicBezTo>
                    <a:pt x="298288" y="24481"/>
                    <a:pt x="302299" y="24481"/>
                    <a:pt x="305308" y="24481"/>
                  </a:cubicBezTo>
                  <a:lnTo>
                    <a:pt x="306311" y="24481"/>
                  </a:lnTo>
                  <a:cubicBezTo>
                    <a:pt x="309320" y="24481"/>
                    <a:pt x="313332" y="25483"/>
                    <a:pt x="312329" y="23478"/>
                  </a:cubicBezTo>
                  <a:cubicBezTo>
                    <a:pt x="303302" y="22475"/>
                    <a:pt x="307314" y="19467"/>
                    <a:pt x="310323" y="16459"/>
                  </a:cubicBezTo>
                  <a:cubicBezTo>
                    <a:pt x="314335" y="13451"/>
                    <a:pt x="318346" y="11445"/>
                    <a:pt x="309320" y="9440"/>
                  </a:cubicBezTo>
                  <a:cubicBezTo>
                    <a:pt x="316341" y="13451"/>
                    <a:pt x="306311" y="11445"/>
                    <a:pt x="298288" y="10443"/>
                  </a:cubicBezTo>
                  <a:cubicBezTo>
                    <a:pt x="297285" y="9440"/>
                    <a:pt x="294276" y="7434"/>
                    <a:pt x="288258" y="6432"/>
                  </a:cubicBezTo>
                  <a:cubicBezTo>
                    <a:pt x="283243" y="6432"/>
                    <a:pt x="285249" y="7434"/>
                    <a:pt x="284246" y="7434"/>
                  </a:cubicBezTo>
                  <a:cubicBezTo>
                    <a:pt x="281238" y="6432"/>
                    <a:pt x="276223" y="6432"/>
                    <a:pt x="277226" y="4426"/>
                  </a:cubicBezTo>
                  <a:cubicBezTo>
                    <a:pt x="273214" y="6432"/>
                    <a:pt x="271208" y="3424"/>
                    <a:pt x="266194" y="4426"/>
                  </a:cubicBezTo>
                  <a:cubicBezTo>
                    <a:pt x="262182" y="5429"/>
                    <a:pt x="266194" y="5429"/>
                    <a:pt x="263185" y="6432"/>
                  </a:cubicBezTo>
                  <a:cubicBezTo>
                    <a:pt x="257167" y="6432"/>
                    <a:pt x="248141" y="7434"/>
                    <a:pt x="243126" y="7434"/>
                  </a:cubicBezTo>
                  <a:cubicBezTo>
                    <a:pt x="241120" y="6432"/>
                    <a:pt x="235103" y="5429"/>
                    <a:pt x="239114" y="2421"/>
                  </a:cubicBezTo>
                  <a:cubicBezTo>
                    <a:pt x="249144" y="1418"/>
                    <a:pt x="236106" y="6432"/>
                    <a:pt x="246135" y="4426"/>
                  </a:cubicBezTo>
                  <a:cubicBezTo>
                    <a:pt x="241120" y="2421"/>
                    <a:pt x="255161" y="2421"/>
                    <a:pt x="256164" y="415"/>
                  </a:cubicBezTo>
                  <a:cubicBezTo>
                    <a:pt x="253155" y="-587"/>
                    <a:pt x="246135" y="415"/>
                    <a:pt x="241120" y="1418"/>
                  </a:cubicBezTo>
                  <a:lnTo>
                    <a:pt x="242123" y="1418"/>
                  </a:lnTo>
                  <a:cubicBezTo>
                    <a:pt x="237108" y="2421"/>
                    <a:pt x="228082" y="5429"/>
                    <a:pt x="222064" y="4426"/>
                  </a:cubicBezTo>
                  <a:cubicBezTo>
                    <a:pt x="223067" y="3424"/>
                    <a:pt x="221062" y="2421"/>
                    <a:pt x="224070" y="1418"/>
                  </a:cubicBezTo>
                  <a:lnTo>
                    <a:pt x="217050" y="2421"/>
                  </a:lnTo>
                  <a:cubicBezTo>
                    <a:pt x="216047" y="3424"/>
                    <a:pt x="215044" y="3424"/>
                    <a:pt x="217050" y="3424"/>
                  </a:cubicBezTo>
                  <a:cubicBezTo>
                    <a:pt x="214041" y="5429"/>
                    <a:pt x="211032" y="5429"/>
                    <a:pt x="208023" y="5429"/>
                  </a:cubicBezTo>
                  <a:cubicBezTo>
                    <a:pt x="207020" y="5429"/>
                    <a:pt x="198997" y="8437"/>
                    <a:pt x="191976" y="13451"/>
                  </a:cubicBezTo>
                  <a:cubicBezTo>
                    <a:pt x="183953" y="17462"/>
                    <a:pt x="176932" y="22475"/>
                    <a:pt x="177935" y="22475"/>
                  </a:cubicBezTo>
                  <a:cubicBezTo>
                    <a:pt x="173923" y="24481"/>
                    <a:pt x="171917" y="23478"/>
                    <a:pt x="167906" y="26486"/>
                  </a:cubicBezTo>
                  <a:cubicBezTo>
                    <a:pt x="167906" y="26486"/>
                    <a:pt x="169912" y="25483"/>
                    <a:pt x="173923" y="23478"/>
                  </a:cubicBezTo>
                  <a:cubicBezTo>
                    <a:pt x="177935" y="21473"/>
                    <a:pt x="181947" y="18464"/>
                    <a:pt x="186961" y="15456"/>
                  </a:cubicBezTo>
                  <a:cubicBezTo>
                    <a:pt x="191976" y="13451"/>
                    <a:pt x="195988" y="10443"/>
                    <a:pt x="200000" y="8437"/>
                  </a:cubicBezTo>
                  <a:cubicBezTo>
                    <a:pt x="203009" y="7434"/>
                    <a:pt x="205015" y="6432"/>
                    <a:pt x="203009" y="6432"/>
                  </a:cubicBezTo>
                  <a:cubicBezTo>
                    <a:pt x="202006" y="6432"/>
                    <a:pt x="197994" y="7434"/>
                    <a:pt x="192979" y="10443"/>
                  </a:cubicBezTo>
                  <a:cubicBezTo>
                    <a:pt x="187964" y="12448"/>
                    <a:pt x="181947" y="16459"/>
                    <a:pt x="175929" y="19467"/>
                  </a:cubicBezTo>
                  <a:cubicBezTo>
                    <a:pt x="169912" y="22475"/>
                    <a:pt x="164897" y="26486"/>
                    <a:pt x="159882" y="29494"/>
                  </a:cubicBezTo>
                  <a:cubicBezTo>
                    <a:pt x="155871" y="32503"/>
                    <a:pt x="152862" y="34508"/>
                    <a:pt x="151859" y="34508"/>
                  </a:cubicBezTo>
                  <a:cubicBezTo>
                    <a:pt x="148850" y="36513"/>
                    <a:pt x="145841" y="39522"/>
                    <a:pt x="146844" y="39522"/>
                  </a:cubicBezTo>
                  <a:cubicBezTo>
                    <a:pt x="141829" y="42530"/>
                    <a:pt x="146844" y="36513"/>
                    <a:pt x="142832" y="38519"/>
                  </a:cubicBezTo>
                  <a:cubicBezTo>
                    <a:pt x="142832" y="38519"/>
                    <a:pt x="143835" y="38519"/>
                    <a:pt x="141829" y="39522"/>
                  </a:cubicBezTo>
                  <a:cubicBezTo>
                    <a:pt x="140827" y="39522"/>
                    <a:pt x="138821" y="40524"/>
                    <a:pt x="137818" y="40524"/>
                  </a:cubicBezTo>
                  <a:cubicBezTo>
                    <a:pt x="134809" y="44535"/>
                    <a:pt x="129794" y="47543"/>
                    <a:pt x="124780" y="50552"/>
                  </a:cubicBezTo>
                  <a:cubicBezTo>
                    <a:pt x="120768" y="54563"/>
                    <a:pt x="115753" y="58573"/>
                    <a:pt x="112744" y="62584"/>
                  </a:cubicBezTo>
                  <a:cubicBezTo>
                    <a:pt x="113747" y="59576"/>
                    <a:pt x="114750" y="55565"/>
                    <a:pt x="118762" y="50552"/>
                  </a:cubicBezTo>
                  <a:lnTo>
                    <a:pt x="119765" y="50552"/>
                  </a:lnTo>
                  <a:cubicBezTo>
                    <a:pt x="119765" y="49549"/>
                    <a:pt x="123777" y="45538"/>
                    <a:pt x="122774" y="45538"/>
                  </a:cubicBezTo>
                  <a:cubicBezTo>
                    <a:pt x="117759" y="48546"/>
                    <a:pt x="113747" y="52557"/>
                    <a:pt x="109736" y="57571"/>
                  </a:cubicBezTo>
                  <a:cubicBezTo>
                    <a:pt x="108733" y="58573"/>
                    <a:pt x="107730" y="58573"/>
                    <a:pt x="106727" y="59576"/>
                  </a:cubicBezTo>
                  <a:cubicBezTo>
                    <a:pt x="106727" y="59576"/>
                    <a:pt x="106727" y="59576"/>
                    <a:pt x="106727" y="59576"/>
                  </a:cubicBezTo>
                  <a:cubicBezTo>
                    <a:pt x="104721" y="60579"/>
                    <a:pt x="104721" y="60579"/>
                    <a:pt x="104721" y="59576"/>
                  </a:cubicBezTo>
                  <a:cubicBezTo>
                    <a:pt x="104721" y="59576"/>
                    <a:pt x="104721" y="59576"/>
                    <a:pt x="104721" y="58573"/>
                  </a:cubicBezTo>
                  <a:cubicBezTo>
                    <a:pt x="101712" y="58573"/>
                    <a:pt x="98703" y="63587"/>
                    <a:pt x="93688" y="68601"/>
                  </a:cubicBezTo>
                  <a:cubicBezTo>
                    <a:pt x="89677" y="74617"/>
                    <a:pt x="84662" y="80633"/>
                    <a:pt x="80650" y="84644"/>
                  </a:cubicBezTo>
                  <a:cubicBezTo>
                    <a:pt x="78644" y="87653"/>
                    <a:pt x="80650" y="85647"/>
                    <a:pt x="78644" y="88655"/>
                  </a:cubicBezTo>
                  <a:cubicBezTo>
                    <a:pt x="70621" y="96677"/>
                    <a:pt x="65606" y="102693"/>
                    <a:pt x="58586" y="112721"/>
                  </a:cubicBezTo>
                  <a:cubicBezTo>
                    <a:pt x="57583" y="116732"/>
                    <a:pt x="58586" y="117734"/>
                    <a:pt x="61594" y="113723"/>
                  </a:cubicBezTo>
                  <a:lnTo>
                    <a:pt x="56580" y="121745"/>
                  </a:lnTo>
                  <a:cubicBezTo>
                    <a:pt x="56580" y="117734"/>
                    <a:pt x="53571" y="120742"/>
                    <a:pt x="51565" y="123751"/>
                  </a:cubicBezTo>
                  <a:cubicBezTo>
                    <a:pt x="48556" y="126759"/>
                    <a:pt x="46550" y="129767"/>
                    <a:pt x="46550" y="124753"/>
                  </a:cubicBezTo>
                  <a:cubicBezTo>
                    <a:pt x="44545" y="126759"/>
                    <a:pt x="41536" y="131772"/>
                    <a:pt x="40533" y="136786"/>
                  </a:cubicBezTo>
                  <a:cubicBezTo>
                    <a:pt x="41536" y="137789"/>
                    <a:pt x="42539" y="138792"/>
                    <a:pt x="39530" y="144808"/>
                  </a:cubicBezTo>
                  <a:cubicBezTo>
                    <a:pt x="34515" y="152830"/>
                    <a:pt x="35518" y="150824"/>
                    <a:pt x="31506" y="156841"/>
                  </a:cubicBezTo>
                  <a:cubicBezTo>
                    <a:pt x="29501" y="157843"/>
                    <a:pt x="30504" y="154835"/>
                    <a:pt x="29501" y="154835"/>
                  </a:cubicBezTo>
                  <a:cubicBezTo>
                    <a:pt x="27495" y="165865"/>
                    <a:pt x="23483" y="162857"/>
                    <a:pt x="19471" y="173887"/>
                  </a:cubicBezTo>
                  <a:cubicBezTo>
                    <a:pt x="17465" y="180906"/>
                    <a:pt x="14457" y="193941"/>
                    <a:pt x="16462" y="194944"/>
                  </a:cubicBezTo>
                  <a:cubicBezTo>
                    <a:pt x="20474" y="208982"/>
                    <a:pt x="19471" y="208982"/>
                    <a:pt x="17465" y="206977"/>
                  </a:cubicBezTo>
                  <a:close/>
                </a:path>
              </a:pathLst>
            </a:custGeom>
            <a:solidFill>
              <a:srgbClr val="154573"/>
            </a:solidFill>
            <a:ln w="100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 sz="1800"/>
            </a:p>
          </p:txBody>
        </p:sp>
      </p:grpSp>
      <p:sp>
        <p:nvSpPr>
          <p:cNvPr id="30" name="Pladsholder til tekst 2">
            <a:extLst>
              <a:ext uri="{FF2B5EF4-FFF2-40B4-BE49-F238E27FC236}">
                <a16:creationId xmlns:a16="http://schemas.microsoft.com/office/drawing/2014/main" id="{C9B57B85-8770-0841-BB19-40B75169508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179800" y="3092044"/>
            <a:ext cx="9097800" cy="608067"/>
          </a:xfr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2800"/>
            </a:lvl1pPr>
            <a:lvl3pPr marL="914423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  <p:sp>
        <p:nvSpPr>
          <p:cNvPr id="31" name="Pladsholder til tekst 2">
            <a:extLst>
              <a:ext uri="{FF2B5EF4-FFF2-40B4-BE49-F238E27FC236}">
                <a16:creationId xmlns:a16="http://schemas.microsoft.com/office/drawing/2014/main" id="{E73C8752-A2E0-DC45-8EBA-D15AECFCAA4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79800" y="3934444"/>
            <a:ext cx="9097800" cy="608067"/>
          </a:xfr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2800"/>
            </a:lvl1pPr>
            <a:lvl3pPr marL="914423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  <p:sp>
        <p:nvSpPr>
          <p:cNvPr id="32" name="Pladsholder til tekst 2">
            <a:extLst>
              <a:ext uri="{FF2B5EF4-FFF2-40B4-BE49-F238E27FC236}">
                <a16:creationId xmlns:a16="http://schemas.microsoft.com/office/drawing/2014/main" id="{11E4C019-7294-044A-AF7C-F1E2E2E2198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79800" y="4776844"/>
            <a:ext cx="9097800" cy="608067"/>
          </a:xfr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2800"/>
            </a:lvl1pPr>
            <a:lvl3pPr marL="914423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  <p:sp>
        <p:nvSpPr>
          <p:cNvPr id="33" name="Pladsholder til tekst 2">
            <a:extLst>
              <a:ext uri="{FF2B5EF4-FFF2-40B4-BE49-F238E27FC236}">
                <a16:creationId xmlns:a16="http://schemas.microsoft.com/office/drawing/2014/main" id="{2893B3F6-3C9F-6B4F-BD6D-9C63D898DF4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179800" y="5619244"/>
            <a:ext cx="9097800" cy="608067"/>
          </a:xfr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2800"/>
            </a:lvl1pPr>
            <a:lvl3pPr marL="914423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</p:spTree>
    <p:extLst>
      <p:ext uri="{BB962C8B-B14F-4D97-AF65-F5344CB8AC3E}">
        <p14:creationId xmlns:p14="http://schemas.microsoft.com/office/powerpoint/2010/main" val="22715305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500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1) Indhold - billedekollag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914401" y="1831358"/>
            <a:ext cx="2796988" cy="4008508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3772861" y="1831359"/>
            <a:ext cx="2796988" cy="2110551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631321" y="1831359"/>
            <a:ext cx="4646279" cy="2110551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6631321" y="3990572"/>
            <a:ext cx="4646279" cy="1849295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3779737" y="3992675"/>
            <a:ext cx="2796988" cy="184929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B04F7A2D-1D60-924D-8691-343C17E54BF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065172" y="4257910"/>
            <a:ext cx="2195929" cy="1380891"/>
          </a:xfrm>
        </p:spPr>
        <p:txBody>
          <a:bodyPr wrap="square" anchor="ctr" anchorCtr="0">
            <a:noAutofit/>
          </a:bodyPr>
          <a:lstStyle>
            <a:lvl1pPr marL="0" indent="0" algn="ctr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89048D62-3969-AF4F-9DFE-7CB99DD91E6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262972"/>
            <a:ext cx="10363200" cy="198541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EF939005-16F7-D242-90DC-BF9D655DFE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432001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4284656095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baseret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DE115998-8EEC-F14C-8A06-E224BD904D2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0AE144C8-0C64-2E48-BD19-B340504ED30E}"/>
              </a:ext>
            </a:extLst>
          </p:cNvPr>
          <p:cNvSpPr/>
          <p:nvPr userDrawn="1"/>
        </p:nvSpPr>
        <p:spPr>
          <a:xfrm>
            <a:off x="0" y="6714895"/>
            <a:ext cx="12192000" cy="180000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5" name="Tekstfelt 4">
            <a:extLst>
              <a:ext uri="{FF2B5EF4-FFF2-40B4-BE49-F238E27FC236}">
                <a16:creationId xmlns:a16="http://schemas.microsoft.com/office/drawing/2014/main" id="{E1980FE7-9B07-E646-894E-3528B0359370}"/>
              </a:ext>
            </a:extLst>
          </p:cNvPr>
          <p:cNvSpPr txBox="1"/>
          <p:nvPr userDrawn="1"/>
        </p:nvSpPr>
        <p:spPr>
          <a:xfrm>
            <a:off x="793596" y="555208"/>
            <a:ext cx="10604810" cy="5747585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da-DK" sz="11501" b="1">
                <a:solidFill>
                  <a:srgbClr val="FFFFFF"/>
                </a:solidFill>
              </a:rPr>
              <a:t>Tekstbaseret </a:t>
            </a:r>
            <a:br>
              <a:rPr lang="da-DK" sz="11501" b="1">
                <a:solidFill>
                  <a:srgbClr val="FFFFFF"/>
                </a:solidFill>
              </a:rPr>
            </a:br>
            <a:r>
              <a:rPr lang="da-DK" sz="11501" b="1">
                <a:solidFill>
                  <a:srgbClr val="FFFFFF"/>
                </a:solidFill>
              </a:rPr>
              <a:t>indhold</a:t>
            </a:r>
          </a:p>
        </p:txBody>
      </p:sp>
    </p:spTree>
    <p:extLst>
      <p:ext uri="{BB962C8B-B14F-4D97-AF65-F5344CB8AC3E}">
        <p14:creationId xmlns:p14="http://schemas.microsoft.com/office/powerpoint/2010/main" val="2152457751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1) Indhold - Fuld tekstbo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688583"/>
            <a:ext cx="10363200" cy="859843"/>
          </a:xfrm>
        </p:spPr>
        <p:txBody>
          <a:bodyPr anchor="t">
            <a:noAutofit/>
          </a:bodyPr>
          <a:lstStyle>
            <a:lvl1pPr marL="0" indent="0" algn="l">
              <a:buNone/>
              <a:defRPr lang="da-DK" sz="3000" b="1" kern="1200" noProof="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i overskrift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sz="quarter" idx="11" hasCustomPrompt="1"/>
          </p:nvPr>
        </p:nvSpPr>
        <p:spPr>
          <a:xfrm>
            <a:off x="914400" y="1736726"/>
            <a:ext cx="10363200" cy="432117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00"/>
            </a:lvl1pPr>
            <a:lvl3pPr marL="914423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B340005-E0B7-A043-B055-7006507B18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456291"/>
            <a:ext cx="10363200" cy="211925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sz="1000" b="0" cap="none" baseline="0">
                <a:solidFill>
                  <a:srgbClr val="164573"/>
                </a:solidFill>
                <a:latin typeface="+mn-lt"/>
              </a:defRPr>
            </a:lvl1pPr>
          </a:lstStyle>
          <a:p>
            <a:r>
              <a:rPr lang="da-DK" noProof="0"/>
              <a:t>Klik for at redigere i </a:t>
            </a:r>
            <a:r>
              <a:rPr lang="da-DK" noProof="0" err="1"/>
              <a:t>tracker</a:t>
            </a:r>
            <a:endParaRPr lang="da-DK" noProof="0"/>
          </a:p>
        </p:txBody>
      </p:sp>
    </p:spTree>
    <p:extLst>
      <p:ext uri="{BB962C8B-B14F-4D97-AF65-F5344CB8AC3E}">
        <p14:creationId xmlns:p14="http://schemas.microsoft.com/office/powerpoint/2010/main" val="1734119918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2) Indhold - To tekst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72279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688583"/>
            <a:ext cx="10363200" cy="859843"/>
          </a:xfrm>
        </p:spPr>
        <p:txBody>
          <a:bodyPr anchor="t">
            <a:noAutofit/>
          </a:bodyPr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a-DK" sz="3000" b="1" kern="1200" noProof="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noProof="0"/>
              <a:t>Klik for at redigere i overskrift</a:t>
            </a:r>
          </a:p>
          <a:p>
            <a:pPr lvl="0"/>
            <a:endParaRPr lang="da-DK" noProof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60D2860C-54D8-6E47-8910-BC092C081A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456291"/>
            <a:ext cx="10363200" cy="211925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sz="1000" b="0" cap="none" baseline="0">
                <a:solidFill>
                  <a:srgbClr val="164573"/>
                </a:solidFill>
                <a:latin typeface="+mn-lt"/>
              </a:defRPr>
            </a:lvl1pPr>
          </a:lstStyle>
          <a:p>
            <a:r>
              <a:rPr lang="da-DK" noProof="0"/>
              <a:t>Klik for at redigere i </a:t>
            </a:r>
            <a:r>
              <a:rPr lang="da-DK" noProof="0" err="1"/>
              <a:t>tracker</a:t>
            </a:r>
            <a:endParaRPr lang="da-DK" noProof="0"/>
          </a:p>
        </p:txBody>
      </p:sp>
      <p:sp>
        <p:nvSpPr>
          <p:cNvPr id="13" name="Pladsholder til tekst 2"/>
          <p:cNvSpPr>
            <a:spLocks noGrp="1"/>
          </p:cNvSpPr>
          <p:nvPr>
            <p:ph type="body" sz="quarter" idx="11" hasCustomPrompt="1"/>
          </p:nvPr>
        </p:nvSpPr>
        <p:spPr>
          <a:xfrm>
            <a:off x="914400" y="1736726"/>
            <a:ext cx="4041422" cy="432117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00"/>
            </a:lvl1pPr>
            <a:lvl3pPr marL="914423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  <p:sp>
        <p:nvSpPr>
          <p:cNvPr id="14" name="Pladsholder til tekst 2"/>
          <p:cNvSpPr>
            <a:spLocks noGrp="1"/>
          </p:cNvSpPr>
          <p:nvPr>
            <p:ph type="body" sz="quarter" idx="12" hasCustomPrompt="1"/>
          </p:nvPr>
        </p:nvSpPr>
        <p:spPr>
          <a:xfrm>
            <a:off x="5288844" y="1731082"/>
            <a:ext cx="4041422" cy="432117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00"/>
            </a:lvl1pPr>
            <a:lvl3pPr marL="914423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</p:spTree>
    <p:extLst>
      <p:ext uri="{BB962C8B-B14F-4D97-AF65-F5344CB8AC3E}">
        <p14:creationId xmlns:p14="http://schemas.microsoft.com/office/powerpoint/2010/main" val="3200459579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3) Indhold - Ingen tekstbo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688583"/>
            <a:ext cx="10363200" cy="859843"/>
          </a:xfrm>
        </p:spPr>
        <p:txBody>
          <a:bodyPr anchor="t">
            <a:noAutofit/>
          </a:bodyPr>
          <a:lstStyle>
            <a:lvl1pPr marL="0" indent="0" algn="l">
              <a:buNone/>
              <a:defRPr lang="da-DK" sz="3000" b="1" kern="1200" noProof="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i overskrift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60D2860C-54D8-6E47-8910-BC092C081A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456291"/>
            <a:ext cx="10363200" cy="211925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sz="1000" b="0" cap="none" baseline="0">
                <a:solidFill>
                  <a:srgbClr val="164573"/>
                </a:solidFill>
                <a:latin typeface="+mn-lt"/>
              </a:defRPr>
            </a:lvl1pPr>
          </a:lstStyle>
          <a:p>
            <a:r>
              <a:rPr lang="da-DK" noProof="0"/>
              <a:t>Klik for at redigere i </a:t>
            </a:r>
            <a:r>
              <a:rPr lang="da-DK" noProof="0" err="1"/>
              <a:t>tracker</a:t>
            </a:r>
            <a:endParaRPr lang="da-DK" noProof="0"/>
          </a:p>
        </p:txBody>
      </p:sp>
    </p:spTree>
    <p:extLst>
      <p:ext uri="{BB962C8B-B14F-4D97-AF65-F5344CB8AC3E}">
        <p14:creationId xmlns:p14="http://schemas.microsoft.com/office/powerpoint/2010/main" val="3559314103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4) Indhold -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iagram 4">
            <a:extLst>
              <a:ext uri="{FF2B5EF4-FFF2-40B4-BE49-F238E27FC236}">
                <a16:creationId xmlns:a16="http://schemas.microsoft.com/office/drawing/2014/main" id="{649C4CD9-CD6F-334F-98E9-4820250EF863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914401" y="655984"/>
            <a:ext cx="10366375" cy="5401917"/>
          </a:xfrm>
        </p:spPr>
        <p:txBody>
          <a:bodyPr/>
          <a:lstStyle>
            <a:lvl1pPr marL="0" indent="0" algn="ctr">
              <a:buNone/>
              <a:defRPr sz="1400"/>
            </a:lvl1pPr>
          </a:lstStyle>
          <a:p>
            <a:r>
              <a:rPr lang="da-DK"/>
              <a:t>Klik på ikonet for at tilføje et diagram</a:t>
            </a:r>
          </a:p>
        </p:txBody>
      </p:sp>
    </p:spTree>
    <p:extLst>
      <p:ext uri="{BB962C8B-B14F-4D97-AF65-F5344CB8AC3E}">
        <p14:creationId xmlns:p14="http://schemas.microsoft.com/office/powerpoint/2010/main" val="3429055096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5) Indhold - Tab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tabel 5">
            <a:extLst>
              <a:ext uri="{FF2B5EF4-FFF2-40B4-BE49-F238E27FC236}">
                <a16:creationId xmlns:a16="http://schemas.microsoft.com/office/drawing/2014/main" id="{FAC4DF31-B3FA-AA43-969D-3B3268B15152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914401" y="655984"/>
            <a:ext cx="10366375" cy="5401917"/>
          </a:xfrm>
        </p:spPr>
        <p:txBody>
          <a:bodyPr/>
          <a:lstStyle>
            <a:lvl1pPr marL="0" indent="0" algn="ctr">
              <a:buNone/>
              <a:defRPr sz="1400"/>
            </a:lvl1pPr>
          </a:lstStyle>
          <a:p>
            <a:r>
              <a:rPr lang="da-DK"/>
              <a:t>Klik på ikonet for at tilføje en tabel</a:t>
            </a:r>
          </a:p>
        </p:txBody>
      </p:sp>
    </p:spTree>
    <p:extLst>
      <p:ext uri="{BB962C8B-B14F-4D97-AF65-F5344CB8AC3E}">
        <p14:creationId xmlns:p14="http://schemas.microsoft.com/office/powerpoint/2010/main" val="383853399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6) Indhold - 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85955215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yt afsn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DE115998-8EEC-F14C-8A06-E224BD904D2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0AE144C8-0C64-2E48-BD19-B340504ED30E}"/>
              </a:ext>
            </a:extLst>
          </p:cNvPr>
          <p:cNvSpPr/>
          <p:nvPr userDrawn="1"/>
        </p:nvSpPr>
        <p:spPr>
          <a:xfrm>
            <a:off x="0" y="6714895"/>
            <a:ext cx="12192000" cy="180000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5" name="Tekstfelt 4">
            <a:extLst>
              <a:ext uri="{FF2B5EF4-FFF2-40B4-BE49-F238E27FC236}">
                <a16:creationId xmlns:a16="http://schemas.microsoft.com/office/drawing/2014/main" id="{D926263D-15B6-7E46-9D7B-3581BB98A802}"/>
              </a:ext>
            </a:extLst>
          </p:cNvPr>
          <p:cNvSpPr txBox="1"/>
          <p:nvPr userDrawn="1"/>
        </p:nvSpPr>
        <p:spPr>
          <a:xfrm>
            <a:off x="793596" y="555208"/>
            <a:ext cx="10604810" cy="5747585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da-DK" sz="11501" b="1">
                <a:solidFill>
                  <a:srgbClr val="FFFFFF"/>
                </a:solidFill>
              </a:rPr>
              <a:t>Nyt afsnit</a:t>
            </a:r>
          </a:p>
        </p:txBody>
      </p:sp>
    </p:spTree>
    <p:extLst>
      <p:ext uri="{BB962C8B-B14F-4D97-AF65-F5344CB8AC3E}">
        <p14:creationId xmlns:p14="http://schemas.microsoft.com/office/powerpoint/2010/main" val="1748766544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0) Nyt afsnit - Mellemslide (indsæt billed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E0728A4A-9392-3044-A1DB-26D65B235A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23" name="Titel 9">
            <a:extLst>
              <a:ext uri="{FF2B5EF4-FFF2-40B4-BE49-F238E27FC236}">
                <a16:creationId xmlns:a16="http://schemas.microsoft.com/office/drawing/2014/main" id="{F443A15A-C60D-A744-B381-2453017F91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26" name="Billede 25">
            <a:extLst>
              <a:ext uri="{FF2B5EF4-FFF2-40B4-BE49-F238E27FC236}">
                <a16:creationId xmlns:a16="http://schemas.microsoft.com/office/drawing/2014/main" id="{D00CBDA2-D83C-C64D-8FE0-E7AFC79E139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EDB6CCC3-4B79-A846-8F97-C3D0B9F9CE3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-1880" y="0"/>
            <a:ext cx="12193879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0 h 6858000"/>
              <a:gd name="connsiteX0" fmla="*/ 18 w 12192018"/>
              <a:gd name="connsiteY0" fmla="*/ 0 h 6858000"/>
              <a:gd name="connsiteX1" fmla="*/ 12192018 w 12192018"/>
              <a:gd name="connsiteY1" fmla="*/ 0 h 6858000"/>
              <a:gd name="connsiteX2" fmla="*/ 12192018 w 12192018"/>
              <a:gd name="connsiteY2" fmla="*/ 6858000 h 6858000"/>
              <a:gd name="connsiteX3" fmla="*/ 18 w 12192018"/>
              <a:gd name="connsiteY3" fmla="*/ 6858000 h 6858000"/>
              <a:gd name="connsiteX4" fmla="*/ 2377458 w 12192018"/>
              <a:gd name="connsiteY4" fmla="*/ 2971800 h 6858000"/>
              <a:gd name="connsiteX5" fmla="*/ 18 w 12192018"/>
              <a:gd name="connsiteY5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3115657 w 12930217"/>
              <a:gd name="connsiteY5" fmla="*/ 2971800 h 6858000"/>
              <a:gd name="connsiteX6" fmla="*/ 738217 w 12930217"/>
              <a:gd name="connsiteY6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3115657 w 12930217"/>
              <a:gd name="connsiteY6" fmla="*/ 2971800 h 6858000"/>
              <a:gd name="connsiteX7" fmla="*/ 738217 w 12930217"/>
              <a:gd name="connsiteY7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749647 w 12930217"/>
              <a:gd name="connsiteY7" fmla="*/ 30861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749647 w 12930217"/>
              <a:gd name="connsiteY7" fmla="*/ 3086100 h 6858000"/>
              <a:gd name="connsiteX8" fmla="*/ 738217 w 12930217"/>
              <a:gd name="connsiteY8" fmla="*/ 0 h 6858000"/>
              <a:gd name="connsiteX0" fmla="*/ 849833 w 13041833"/>
              <a:gd name="connsiteY0" fmla="*/ 0 h 6858000"/>
              <a:gd name="connsiteX1" fmla="*/ 13041833 w 13041833"/>
              <a:gd name="connsiteY1" fmla="*/ 0 h 6858000"/>
              <a:gd name="connsiteX2" fmla="*/ 13041833 w 13041833"/>
              <a:gd name="connsiteY2" fmla="*/ 6858000 h 6858000"/>
              <a:gd name="connsiteX3" fmla="*/ 849833 w 13041833"/>
              <a:gd name="connsiteY3" fmla="*/ 6858000 h 6858000"/>
              <a:gd name="connsiteX4" fmla="*/ 1307033 w 13041833"/>
              <a:gd name="connsiteY4" fmla="*/ 5829300 h 6858000"/>
              <a:gd name="connsiteX5" fmla="*/ 7067754 w 13041833"/>
              <a:gd name="connsiteY5" fmla="*/ 5772150 h 6858000"/>
              <a:gd name="connsiteX6" fmla="*/ 8096454 w 13041833"/>
              <a:gd name="connsiteY6" fmla="*/ 3086100 h 6858000"/>
              <a:gd name="connsiteX7" fmla="*/ 861263 w 13041833"/>
              <a:gd name="connsiteY7" fmla="*/ 3086100 h 6858000"/>
              <a:gd name="connsiteX8" fmla="*/ 849833 w 13041833"/>
              <a:gd name="connsiteY8" fmla="*/ 0 h 6858000"/>
              <a:gd name="connsiteX0" fmla="*/ 796095 w 12988095"/>
              <a:gd name="connsiteY0" fmla="*/ 0 h 6858000"/>
              <a:gd name="connsiteX1" fmla="*/ 12988095 w 12988095"/>
              <a:gd name="connsiteY1" fmla="*/ 0 h 6858000"/>
              <a:gd name="connsiteX2" fmla="*/ 12988095 w 12988095"/>
              <a:gd name="connsiteY2" fmla="*/ 6858000 h 6858000"/>
              <a:gd name="connsiteX3" fmla="*/ 796095 w 12988095"/>
              <a:gd name="connsiteY3" fmla="*/ 6858000 h 6858000"/>
              <a:gd name="connsiteX4" fmla="*/ 1253295 w 12988095"/>
              <a:gd name="connsiteY4" fmla="*/ 5829300 h 6858000"/>
              <a:gd name="connsiteX5" fmla="*/ 7014016 w 12988095"/>
              <a:gd name="connsiteY5" fmla="*/ 5772150 h 6858000"/>
              <a:gd name="connsiteX6" fmla="*/ 8042716 w 12988095"/>
              <a:gd name="connsiteY6" fmla="*/ 3086100 h 6858000"/>
              <a:gd name="connsiteX7" fmla="*/ 807525 w 12988095"/>
              <a:gd name="connsiteY7" fmla="*/ 3086100 h 6858000"/>
              <a:gd name="connsiteX8" fmla="*/ 796095 w 12988095"/>
              <a:gd name="connsiteY8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457200 w 12192000"/>
              <a:gd name="connsiteY4" fmla="*/ 5829300 h 6858000"/>
              <a:gd name="connsiteX5" fmla="*/ 6217921 w 12192000"/>
              <a:gd name="connsiteY5" fmla="*/ 5772150 h 6858000"/>
              <a:gd name="connsiteX6" fmla="*/ 7246621 w 12192000"/>
              <a:gd name="connsiteY6" fmla="*/ 3086100 h 6858000"/>
              <a:gd name="connsiteX7" fmla="*/ 11430 w 12192000"/>
              <a:gd name="connsiteY7" fmla="*/ 3086100 h 6858000"/>
              <a:gd name="connsiteX8" fmla="*/ 0 w 12192000"/>
              <a:gd name="connsiteY8" fmla="*/ 0 h 6858000"/>
              <a:gd name="connsiteX0" fmla="*/ 45732 w 12237732"/>
              <a:gd name="connsiteY0" fmla="*/ 0 h 6858000"/>
              <a:gd name="connsiteX1" fmla="*/ 12237732 w 12237732"/>
              <a:gd name="connsiteY1" fmla="*/ 0 h 6858000"/>
              <a:gd name="connsiteX2" fmla="*/ 12237732 w 12237732"/>
              <a:gd name="connsiteY2" fmla="*/ 6858000 h 6858000"/>
              <a:gd name="connsiteX3" fmla="*/ 45732 w 12237732"/>
              <a:gd name="connsiteY3" fmla="*/ 6858000 h 6858000"/>
              <a:gd name="connsiteX4" fmla="*/ 57162 w 12237732"/>
              <a:gd name="connsiteY4" fmla="*/ 5806440 h 6858000"/>
              <a:gd name="connsiteX5" fmla="*/ 6263653 w 12237732"/>
              <a:gd name="connsiteY5" fmla="*/ 5772150 h 6858000"/>
              <a:gd name="connsiteX6" fmla="*/ 7292353 w 12237732"/>
              <a:gd name="connsiteY6" fmla="*/ 3086100 h 6858000"/>
              <a:gd name="connsiteX7" fmla="*/ 57162 w 12237732"/>
              <a:gd name="connsiteY7" fmla="*/ 3086100 h 6858000"/>
              <a:gd name="connsiteX8" fmla="*/ 45732 w 12237732"/>
              <a:gd name="connsiteY8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11430 w 12192000"/>
              <a:gd name="connsiteY4" fmla="*/ 5806440 h 6858000"/>
              <a:gd name="connsiteX5" fmla="*/ 6217921 w 12192000"/>
              <a:gd name="connsiteY5" fmla="*/ 5772150 h 6858000"/>
              <a:gd name="connsiteX6" fmla="*/ 7246621 w 12192000"/>
              <a:gd name="connsiteY6" fmla="*/ 3086100 h 6858000"/>
              <a:gd name="connsiteX7" fmla="*/ 11430 w 12192000"/>
              <a:gd name="connsiteY7" fmla="*/ 3086100 h 6858000"/>
              <a:gd name="connsiteX8" fmla="*/ 0 w 12192000"/>
              <a:gd name="connsiteY8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11430 w 12192000"/>
              <a:gd name="connsiteY4" fmla="*/ 5806440 h 6858000"/>
              <a:gd name="connsiteX5" fmla="*/ 6217921 w 12192000"/>
              <a:gd name="connsiteY5" fmla="*/ 5772150 h 6858000"/>
              <a:gd name="connsiteX6" fmla="*/ 7246621 w 12192000"/>
              <a:gd name="connsiteY6" fmla="*/ 3086100 h 6858000"/>
              <a:gd name="connsiteX7" fmla="*/ 11430 w 12192000"/>
              <a:gd name="connsiteY7" fmla="*/ 3086100 h 6858000"/>
              <a:gd name="connsiteX8" fmla="*/ 0 w 12192000"/>
              <a:gd name="connsiteY8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11430 w 12192000"/>
              <a:gd name="connsiteY4" fmla="*/ 5806440 h 6858000"/>
              <a:gd name="connsiteX5" fmla="*/ 7223761 w 12192000"/>
              <a:gd name="connsiteY5" fmla="*/ 5806440 h 6858000"/>
              <a:gd name="connsiteX6" fmla="*/ 7246621 w 12192000"/>
              <a:gd name="connsiteY6" fmla="*/ 3086100 h 6858000"/>
              <a:gd name="connsiteX7" fmla="*/ 11430 w 12192000"/>
              <a:gd name="connsiteY7" fmla="*/ 3086100 h 6858000"/>
              <a:gd name="connsiteX8" fmla="*/ 0 w 12192000"/>
              <a:gd name="connsiteY8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11430 w 12192000"/>
              <a:gd name="connsiteY4" fmla="*/ 5806440 h 6858000"/>
              <a:gd name="connsiteX5" fmla="*/ 7223761 w 12192000"/>
              <a:gd name="connsiteY5" fmla="*/ 5806440 h 6858000"/>
              <a:gd name="connsiteX6" fmla="*/ 7246621 w 12192000"/>
              <a:gd name="connsiteY6" fmla="*/ 3086100 h 6858000"/>
              <a:gd name="connsiteX7" fmla="*/ 11430 w 12192000"/>
              <a:gd name="connsiteY7" fmla="*/ 3086100 h 6858000"/>
              <a:gd name="connsiteX8" fmla="*/ 0 w 12192000"/>
              <a:gd name="connsiteY8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11430 w 12192000"/>
              <a:gd name="connsiteY4" fmla="*/ 5806440 h 6858000"/>
              <a:gd name="connsiteX5" fmla="*/ 7223761 w 12192000"/>
              <a:gd name="connsiteY5" fmla="*/ 5806440 h 6858000"/>
              <a:gd name="connsiteX6" fmla="*/ 7246621 w 12192000"/>
              <a:gd name="connsiteY6" fmla="*/ 3086100 h 6858000"/>
              <a:gd name="connsiteX7" fmla="*/ 11430 w 12192000"/>
              <a:gd name="connsiteY7" fmla="*/ 3086100 h 6858000"/>
              <a:gd name="connsiteX8" fmla="*/ 0 w 12192000"/>
              <a:gd name="connsiteY8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11430 w 12192000"/>
              <a:gd name="connsiteY4" fmla="*/ 5806440 h 6858000"/>
              <a:gd name="connsiteX5" fmla="*/ 7223761 w 12192000"/>
              <a:gd name="connsiteY5" fmla="*/ 5806440 h 6858000"/>
              <a:gd name="connsiteX6" fmla="*/ 7246621 w 12192000"/>
              <a:gd name="connsiteY6" fmla="*/ 3086100 h 6858000"/>
              <a:gd name="connsiteX7" fmla="*/ 11430 w 12192000"/>
              <a:gd name="connsiteY7" fmla="*/ 3086100 h 6858000"/>
              <a:gd name="connsiteX8" fmla="*/ 0 w 12192000"/>
              <a:gd name="connsiteY8" fmla="*/ 0 h 6858000"/>
              <a:gd name="connsiteX0" fmla="*/ 1270 w 12193270"/>
              <a:gd name="connsiteY0" fmla="*/ 0 h 6858000"/>
              <a:gd name="connsiteX1" fmla="*/ 12193270 w 12193270"/>
              <a:gd name="connsiteY1" fmla="*/ 0 h 6858000"/>
              <a:gd name="connsiteX2" fmla="*/ 12193270 w 12193270"/>
              <a:gd name="connsiteY2" fmla="*/ 6858000 h 6858000"/>
              <a:gd name="connsiteX3" fmla="*/ 1270 w 12193270"/>
              <a:gd name="connsiteY3" fmla="*/ 6858000 h 6858000"/>
              <a:gd name="connsiteX4" fmla="*/ 12700 w 12193270"/>
              <a:gd name="connsiteY4" fmla="*/ 5806440 h 6858000"/>
              <a:gd name="connsiteX5" fmla="*/ 7225031 w 12193270"/>
              <a:gd name="connsiteY5" fmla="*/ 5806440 h 6858000"/>
              <a:gd name="connsiteX6" fmla="*/ 7247891 w 12193270"/>
              <a:gd name="connsiteY6" fmla="*/ 3086100 h 6858000"/>
              <a:gd name="connsiteX7" fmla="*/ 0 w 12193270"/>
              <a:gd name="connsiteY7" fmla="*/ 3092450 h 6858000"/>
              <a:gd name="connsiteX8" fmla="*/ 1270 w 12193270"/>
              <a:gd name="connsiteY8" fmla="*/ 0 h 6858000"/>
              <a:gd name="connsiteX0" fmla="*/ 1270 w 12193270"/>
              <a:gd name="connsiteY0" fmla="*/ 0 h 6858000"/>
              <a:gd name="connsiteX1" fmla="*/ 12193270 w 12193270"/>
              <a:gd name="connsiteY1" fmla="*/ 0 h 6858000"/>
              <a:gd name="connsiteX2" fmla="*/ 12193270 w 12193270"/>
              <a:gd name="connsiteY2" fmla="*/ 6858000 h 6858000"/>
              <a:gd name="connsiteX3" fmla="*/ 1270 w 12193270"/>
              <a:gd name="connsiteY3" fmla="*/ 6858000 h 6858000"/>
              <a:gd name="connsiteX4" fmla="*/ 6350 w 12193270"/>
              <a:gd name="connsiteY4" fmla="*/ 5825490 h 6858000"/>
              <a:gd name="connsiteX5" fmla="*/ 7225031 w 12193270"/>
              <a:gd name="connsiteY5" fmla="*/ 5806440 h 6858000"/>
              <a:gd name="connsiteX6" fmla="*/ 7247891 w 12193270"/>
              <a:gd name="connsiteY6" fmla="*/ 3086100 h 6858000"/>
              <a:gd name="connsiteX7" fmla="*/ 0 w 12193270"/>
              <a:gd name="connsiteY7" fmla="*/ 3092450 h 6858000"/>
              <a:gd name="connsiteX8" fmla="*/ 1270 w 12193270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25640 w 12193879"/>
              <a:gd name="connsiteY5" fmla="*/ 5806440 h 6858000"/>
              <a:gd name="connsiteX6" fmla="*/ 7248500 w 12193879"/>
              <a:gd name="connsiteY6" fmla="*/ 308610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25640 w 12193879"/>
              <a:gd name="connsiteY5" fmla="*/ 5806440 h 6858000"/>
              <a:gd name="connsiteX6" fmla="*/ 7248500 w 12193879"/>
              <a:gd name="connsiteY6" fmla="*/ 308610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51040 w 12193879"/>
              <a:gd name="connsiteY5" fmla="*/ 5825490 h 6858000"/>
              <a:gd name="connsiteX6" fmla="*/ 7248500 w 12193879"/>
              <a:gd name="connsiteY6" fmla="*/ 308610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51040 w 12193879"/>
              <a:gd name="connsiteY5" fmla="*/ 5825490 h 6858000"/>
              <a:gd name="connsiteX6" fmla="*/ 7248500 w 12193879"/>
              <a:gd name="connsiteY6" fmla="*/ 308610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51040 w 12193879"/>
              <a:gd name="connsiteY5" fmla="*/ 5825490 h 6858000"/>
              <a:gd name="connsiteX6" fmla="*/ 7245325 w 12193879"/>
              <a:gd name="connsiteY6" fmla="*/ 309245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51040 w 12193879"/>
              <a:gd name="connsiteY5" fmla="*/ 5825490 h 6858000"/>
              <a:gd name="connsiteX6" fmla="*/ 7245325 w 12193879"/>
              <a:gd name="connsiteY6" fmla="*/ 309245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51040 w 12193879"/>
              <a:gd name="connsiteY5" fmla="*/ 5825490 h 6858000"/>
              <a:gd name="connsiteX6" fmla="*/ 7245325 w 12193879"/>
              <a:gd name="connsiteY6" fmla="*/ 309245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51040 w 12193879"/>
              <a:gd name="connsiteY5" fmla="*/ 5825490 h 6858000"/>
              <a:gd name="connsiteX6" fmla="*/ 7254850 w 12193879"/>
              <a:gd name="connsiteY6" fmla="*/ 309245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51040 w 12193879"/>
              <a:gd name="connsiteY5" fmla="*/ 5825490 h 6858000"/>
              <a:gd name="connsiteX6" fmla="*/ 7254850 w 12193879"/>
              <a:gd name="connsiteY6" fmla="*/ 309245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47865 w 12193879"/>
              <a:gd name="connsiteY5" fmla="*/ 5825490 h 6858000"/>
              <a:gd name="connsiteX6" fmla="*/ 7254850 w 12193879"/>
              <a:gd name="connsiteY6" fmla="*/ 309245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47865 w 12193879"/>
              <a:gd name="connsiteY5" fmla="*/ 5825490 h 6858000"/>
              <a:gd name="connsiteX6" fmla="*/ 7251675 w 12193879"/>
              <a:gd name="connsiteY6" fmla="*/ 3089275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47865 w 12193879"/>
              <a:gd name="connsiteY5" fmla="*/ 5819140 h 6858000"/>
              <a:gd name="connsiteX6" fmla="*/ 7251675 w 12193879"/>
              <a:gd name="connsiteY6" fmla="*/ 3089275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3879" h="6858000">
                <a:moveTo>
                  <a:pt x="1879" y="0"/>
                </a:moveTo>
                <a:lnTo>
                  <a:pt x="12193879" y="0"/>
                </a:lnTo>
                <a:lnTo>
                  <a:pt x="12193879" y="6858000"/>
                </a:lnTo>
                <a:lnTo>
                  <a:pt x="1879" y="6858000"/>
                </a:lnTo>
                <a:cubicBezTo>
                  <a:pt x="2514" y="6059805"/>
                  <a:pt x="-3836" y="6492875"/>
                  <a:pt x="3784" y="5822315"/>
                </a:cubicBezTo>
                <a:lnTo>
                  <a:pt x="7247865" y="5819140"/>
                </a:lnTo>
                <a:cubicBezTo>
                  <a:pt x="7250405" y="4772660"/>
                  <a:pt x="7247230" y="4008755"/>
                  <a:pt x="7251675" y="3089275"/>
                </a:cubicBezTo>
                <a:lnTo>
                  <a:pt x="609" y="3092450"/>
                </a:lnTo>
                <a:cubicBezTo>
                  <a:pt x="1032" y="2061633"/>
                  <a:pt x="1456" y="1030817"/>
                  <a:pt x="1879" y="0"/>
                </a:cubicBezTo>
                <a:close/>
              </a:path>
            </a:pathLst>
          </a:custGeom>
          <a:noFill/>
          <a:effectLst/>
        </p:spPr>
        <p:txBody>
          <a:bodyPr tIns="1692000"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800" b="0" baseline="0">
                <a:latin typeface="+mj-lt"/>
              </a:defRPr>
            </a:lvl1pPr>
          </a:lstStyle>
          <a:p>
            <a:r>
              <a:rPr lang="en-US" err="1"/>
              <a:t>Indsæt</a:t>
            </a:r>
            <a:r>
              <a:rPr lang="en-US"/>
              <a:t> </a:t>
            </a:r>
            <a:r>
              <a:rPr lang="en-US" err="1"/>
              <a:t>billiede</a:t>
            </a:r>
            <a:r>
              <a:rPr lang="en-US"/>
              <a:t>, </a:t>
            </a:r>
            <a:r>
              <a:rPr lang="en-US" err="1"/>
              <a:t>klik</a:t>
            </a:r>
            <a:r>
              <a:rPr lang="en-US"/>
              <a:t> her</a:t>
            </a:r>
          </a:p>
        </p:txBody>
      </p:sp>
      <p:grpSp>
        <p:nvGrpSpPr>
          <p:cNvPr id="9" name="Gruppe 8">
            <a:extLst>
              <a:ext uri="{FF2B5EF4-FFF2-40B4-BE49-F238E27FC236}">
                <a16:creationId xmlns:a16="http://schemas.microsoft.com/office/drawing/2014/main" id="{8A69F2F3-767B-1543-9BB3-36075B3B8957}"/>
              </a:ext>
            </a:extLst>
          </p:cNvPr>
          <p:cNvGrpSpPr/>
          <p:nvPr userDrawn="1"/>
        </p:nvGrpSpPr>
        <p:grpSpPr>
          <a:xfrm rot="17162911" flipH="1">
            <a:off x="6421968" y="2335518"/>
            <a:ext cx="837630" cy="491500"/>
            <a:chOff x="3807407" y="1614978"/>
            <a:chExt cx="750355" cy="334433"/>
          </a:xfrm>
        </p:grpSpPr>
        <p:sp>
          <p:nvSpPr>
            <p:cNvPr id="10" name="Kombinationstegning 9">
              <a:extLst>
                <a:ext uri="{FF2B5EF4-FFF2-40B4-BE49-F238E27FC236}">
                  <a16:creationId xmlns:a16="http://schemas.microsoft.com/office/drawing/2014/main" id="{261AFC55-9A17-4A4E-B03C-2D2432500C23}"/>
                </a:ext>
              </a:extLst>
            </p:cNvPr>
            <p:cNvSpPr/>
            <p:nvPr/>
          </p:nvSpPr>
          <p:spPr>
            <a:xfrm>
              <a:off x="3807407" y="1651138"/>
              <a:ext cx="674427" cy="298273"/>
            </a:xfrm>
            <a:custGeom>
              <a:avLst/>
              <a:gdLst>
                <a:gd name="connsiteX0" fmla="*/ 161131 w 674427"/>
                <a:gd name="connsiteY0" fmla="*/ 238844 h 298273"/>
                <a:gd name="connsiteX1" fmla="*/ 163986 w 674427"/>
                <a:gd name="connsiteY1" fmla="*/ 237892 h 298273"/>
                <a:gd name="connsiteX2" fmla="*/ 136381 w 674427"/>
                <a:gd name="connsiteY2" fmla="*/ 250263 h 298273"/>
                <a:gd name="connsiteX3" fmla="*/ 194447 w 674427"/>
                <a:gd name="connsiteY3" fmla="*/ 220764 h 298273"/>
                <a:gd name="connsiteX4" fmla="*/ 218245 w 674427"/>
                <a:gd name="connsiteY4" fmla="*/ 216006 h 298273"/>
                <a:gd name="connsiteX5" fmla="*/ 229667 w 674427"/>
                <a:gd name="connsiteY5" fmla="*/ 208394 h 298273"/>
                <a:gd name="connsiteX6" fmla="*/ 222052 w 674427"/>
                <a:gd name="connsiteY6" fmla="*/ 213152 h 298273"/>
                <a:gd name="connsiteX7" fmla="*/ 229667 w 674427"/>
                <a:gd name="connsiteY7" fmla="*/ 208394 h 298273"/>
                <a:gd name="connsiteX8" fmla="*/ 313435 w 674427"/>
                <a:gd name="connsiteY8" fmla="*/ 169379 h 298273"/>
                <a:gd name="connsiteX9" fmla="*/ 392442 w 674427"/>
                <a:gd name="connsiteY9" fmla="*/ 137978 h 298273"/>
                <a:gd name="connsiteX10" fmla="*/ 400057 w 674427"/>
                <a:gd name="connsiteY10" fmla="*/ 135123 h 298273"/>
                <a:gd name="connsiteX11" fmla="*/ 391490 w 674427"/>
                <a:gd name="connsiteY11" fmla="*/ 137978 h 298273"/>
                <a:gd name="connsiteX12" fmla="*/ 418144 w 674427"/>
                <a:gd name="connsiteY12" fmla="*/ 121801 h 298273"/>
                <a:gd name="connsiteX13" fmla="*/ 411480 w 674427"/>
                <a:gd name="connsiteY13" fmla="*/ 121801 h 298273"/>
                <a:gd name="connsiteX14" fmla="*/ 416240 w 674427"/>
                <a:gd name="connsiteY14" fmla="*/ 119898 h 298273"/>
                <a:gd name="connsiteX15" fmla="*/ 433374 w 674427"/>
                <a:gd name="connsiteY15" fmla="*/ 109430 h 298273"/>
                <a:gd name="connsiteX16" fmla="*/ 440037 w 674427"/>
                <a:gd name="connsiteY16" fmla="*/ 108479 h 298273"/>
                <a:gd name="connsiteX17" fmla="*/ 438133 w 674427"/>
                <a:gd name="connsiteY17" fmla="*/ 108479 h 298273"/>
                <a:gd name="connsiteX18" fmla="*/ 474306 w 674427"/>
                <a:gd name="connsiteY18" fmla="*/ 92302 h 298273"/>
                <a:gd name="connsiteX19" fmla="*/ 478113 w 674427"/>
                <a:gd name="connsiteY19" fmla="*/ 91351 h 298273"/>
                <a:gd name="connsiteX20" fmla="*/ 488584 w 674427"/>
                <a:gd name="connsiteY20" fmla="*/ 86593 h 298273"/>
                <a:gd name="connsiteX21" fmla="*/ 493344 w 674427"/>
                <a:gd name="connsiteY21" fmla="*/ 87544 h 298273"/>
                <a:gd name="connsiteX22" fmla="*/ 515237 w 674427"/>
                <a:gd name="connsiteY22" fmla="*/ 76126 h 298273"/>
                <a:gd name="connsiteX23" fmla="*/ 555217 w 674427"/>
                <a:gd name="connsiteY23" fmla="*/ 58997 h 298273"/>
                <a:gd name="connsiteX24" fmla="*/ 596149 w 674427"/>
                <a:gd name="connsiteY24" fmla="*/ 40917 h 298273"/>
                <a:gd name="connsiteX25" fmla="*/ 595197 w 674427"/>
                <a:gd name="connsiteY25" fmla="*/ 40917 h 298273"/>
                <a:gd name="connsiteX26" fmla="*/ 624706 w 674427"/>
                <a:gd name="connsiteY26" fmla="*/ 27596 h 298273"/>
                <a:gd name="connsiteX27" fmla="*/ 646599 w 674427"/>
                <a:gd name="connsiteY27" fmla="*/ 14274 h 298273"/>
                <a:gd name="connsiteX28" fmla="*/ 669445 w 674427"/>
                <a:gd name="connsiteY28" fmla="*/ 4758 h 298273"/>
                <a:gd name="connsiteX29" fmla="*/ 673253 w 674427"/>
                <a:gd name="connsiteY29" fmla="*/ 0 h 298273"/>
                <a:gd name="connsiteX30" fmla="*/ 659926 w 674427"/>
                <a:gd name="connsiteY30" fmla="*/ 1903 h 298273"/>
                <a:gd name="connsiteX31" fmla="*/ 659926 w 674427"/>
                <a:gd name="connsiteY31" fmla="*/ 1903 h 298273"/>
                <a:gd name="connsiteX32" fmla="*/ 581870 w 674427"/>
                <a:gd name="connsiteY32" fmla="*/ 23789 h 298273"/>
                <a:gd name="connsiteX33" fmla="*/ 528564 w 674427"/>
                <a:gd name="connsiteY33" fmla="*/ 44724 h 298273"/>
                <a:gd name="connsiteX34" fmla="*/ 474306 w 674427"/>
                <a:gd name="connsiteY34" fmla="*/ 69465 h 298273"/>
                <a:gd name="connsiteX35" fmla="*/ 463835 w 674427"/>
                <a:gd name="connsiteY35" fmla="*/ 72319 h 298273"/>
                <a:gd name="connsiteX36" fmla="*/ 414336 w 674427"/>
                <a:gd name="connsiteY36" fmla="*/ 94205 h 298273"/>
                <a:gd name="connsiteX37" fmla="*/ 415288 w 674427"/>
                <a:gd name="connsiteY37" fmla="*/ 94205 h 298273"/>
                <a:gd name="connsiteX38" fmla="*/ 390538 w 674427"/>
                <a:gd name="connsiteY38" fmla="*/ 103721 h 298273"/>
                <a:gd name="connsiteX39" fmla="*/ 388635 w 674427"/>
                <a:gd name="connsiteY39" fmla="*/ 105624 h 298273"/>
                <a:gd name="connsiteX40" fmla="*/ 336280 w 674427"/>
                <a:gd name="connsiteY40" fmla="*/ 132268 h 298273"/>
                <a:gd name="connsiteX41" fmla="*/ 333424 w 674427"/>
                <a:gd name="connsiteY41" fmla="*/ 134171 h 298273"/>
                <a:gd name="connsiteX42" fmla="*/ 280118 w 674427"/>
                <a:gd name="connsiteY42" fmla="*/ 154154 h 298273"/>
                <a:gd name="connsiteX43" fmla="*/ 271551 w 674427"/>
                <a:gd name="connsiteY43" fmla="*/ 161767 h 298273"/>
                <a:gd name="connsiteX44" fmla="*/ 264888 w 674427"/>
                <a:gd name="connsiteY44" fmla="*/ 165573 h 298273"/>
                <a:gd name="connsiteX45" fmla="*/ 255369 w 674427"/>
                <a:gd name="connsiteY45" fmla="*/ 169379 h 298273"/>
                <a:gd name="connsiteX46" fmla="*/ 235379 w 674427"/>
                <a:gd name="connsiteY46" fmla="*/ 178895 h 298273"/>
                <a:gd name="connsiteX47" fmla="*/ 227764 w 674427"/>
                <a:gd name="connsiteY47" fmla="*/ 183653 h 298273"/>
                <a:gd name="connsiteX48" fmla="*/ 222052 w 674427"/>
                <a:gd name="connsiteY48" fmla="*/ 184604 h 298273"/>
                <a:gd name="connsiteX49" fmla="*/ 210629 w 674427"/>
                <a:gd name="connsiteY49" fmla="*/ 189362 h 298273"/>
                <a:gd name="connsiteX50" fmla="*/ 193495 w 674427"/>
                <a:gd name="connsiteY50" fmla="*/ 199829 h 298273"/>
                <a:gd name="connsiteX51" fmla="*/ 194447 w 674427"/>
                <a:gd name="connsiteY51" fmla="*/ 198878 h 298273"/>
                <a:gd name="connsiteX52" fmla="*/ 173505 w 674427"/>
                <a:gd name="connsiteY52" fmla="*/ 205539 h 298273"/>
                <a:gd name="connsiteX53" fmla="*/ 112584 w 674427"/>
                <a:gd name="connsiteY53" fmla="*/ 235038 h 298273"/>
                <a:gd name="connsiteX54" fmla="*/ 117343 w 674427"/>
                <a:gd name="connsiteY54" fmla="*/ 234086 h 298273"/>
                <a:gd name="connsiteX55" fmla="*/ 83075 w 674427"/>
                <a:gd name="connsiteY55" fmla="*/ 248360 h 298273"/>
                <a:gd name="connsiteX56" fmla="*/ 77363 w 674427"/>
                <a:gd name="connsiteY56" fmla="*/ 249311 h 298273"/>
                <a:gd name="connsiteX57" fmla="*/ 72604 w 674427"/>
                <a:gd name="connsiteY57" fmla="*/ 252166 h 298273"/>
                <a:gd name="connsiteX58" fmla="*/ 71652 w 674427"/>
                <a:gd name="connsiteY58" fmla="*/ 251214 h 298273"/>
                <a:gd name="connsiteX59" fmla="*/ 62133 w 674427"/>
                <a:gd name="connsiteY59" fmla="*/ 255021 h 298273"/>
                <a:gd name="connsiteX60" fmla="*/ 59277 w 674427"/>
                <a:gd name="connsiteY60" fmla="*/ 256924 h 298273"/>
                <a:gd name="connsiteX61" fmla="*/ 55470 w 674427"/>
                <a:gd name="connsiteY61" fmla="*/ 257875 h 298273"/>
                <a:gd name="connsiteX62" fmla="*/ 55470 w 674427"/>
                <a:gd name="connsiteY62" fmla="*/ 257875 h 298273"/>
                <a:gd name="connsiteX63" fmla="*/ 53566 w 674427"/>
                <a:gd name="connsiteY63" fmla="*/ 258827 h 298273"/>
                <a:gd name="connsiteX64" fmla="*/ 39287 w 674427"/>
                <a:gd name="connsiteY64" fmla="*/ 271197 h 298273"/>
                <a:gd name="connsiteX65" fmla="*/ 38335 w 674427"/>
                <a:gd name="connsiteY65" fmla="*/ 271197 h 298273"/>
                <a:gd name="connsiteX66" fmla="*/ 37384 w 674427"/>
                <a:gd name="connsiteY66" fmla="*/ 273100 h 298273"/>
                <a:gd name="connsiteX67" fmla="*/ 34528 w 674427"/>
                <a:gd name="connsiteY67" fmla="*/ 274052 h 298273"/>
                <a:gd name="connsiteX68" fmla="*/ 34528 w 674427"/>
                <a:gd name="connsiteY68" fmla="*/ 274052 h 298273"/>
                <a:gd name="connsiteX69" fmla="*/ 31672 w 674427"/>
                <a:gd name="connsiteY69" fmla="*/ 275004 h 298273"/>
                <a:gd name="connsiteX70" fmla="*/ 30720 w 674427"/>
                <a:gd name="connsiteY70" fmla="*/ 274052 h 298273"/>
                <a:gd name="connsiteX71" fmla="*/ 26913 w 674427"/>
                <a:gd name="connsiteY71" fmla="*/ 276907 h 298273"/>
                <a:gd name="connsiteX72" fmla="*/ 41191 w 674427"/>
                <a:gd name="connsiteY72" fmla="*/ 274052 h 298273"/>
                <a:gd name="connsiteX73" fmla="*/ 34528 w 674427"/>
                <a:gd name="connsiteY73" fmla="*/ 276907 h 298273"/>
                <a:gd name="connsiteX74" fmla="*/ 23105 w 674427"/>
                <a:gd name="connsiteY74" fmla="*/ 279761 h 298273"/>
                <a:gd name="connsiteX75" fmla="*/ 20249 w 674427"/>
                <a:gd name="connsiteY75" fmla="*/ 281664 h 298273"/>
                <a:gd name="connsiteX76" fmla="*/ 16442 w 674427"/>
                <a:gd name="connsiteY76" fmla="*/ 282616 h 298273"/>
                <a:gd name="connsiteX77" fmla="*/ 21201 w 674427"/>
                <a:gd name="connsiteY77" fmla="*/ 279761 h 298273"/>
                <a:gd name="connsiteX78" fmla="*/ 15490 w 674427"/>
                <a:gd name="connsiteY78" fmla="*/ 281664 h 298273"/>
                <a:gd name="connsiteX79" fmla="*/ 9778 w 674427"/>
                <a:gd name="connsiteY79" fmla="*/ 284519 h 298273"/>
                <a:gd name="connsiteX80" fmla="*/ 5971 w 674427"/>
                <a:gd name="connsiteY80" fmla="*/ 284519 h 298273"/>
                <a:gd name="connsiteX81" fmla="*/ 5019 w 674427"/>
                <a:gd name="connsiteY81" fmla="*/ 286422 h 298273"/>
                <a:gd name="connsiteX82" fmla="*/ 9778 w 674427"/>
                <a:gd name="connsiteY82" fmla="*/ 286422 h 298273"/>
                <a:gd name="connsiteX83" fmla="*/ 5019 w 674427"/>
                <a:gd name="connsiteY83" fmla="*/ 288325 h 298273"/>
                <a:gd name="connsiteX84" fmla="*/ 5971 w 674427"/>
                <a:gd name="connsiteY84" fmla="*/ 289277 h 298273"/>
                <a:gd name="connsiteX85" fmla="*/ 1211 w 674427"/>
                <a:gd name="connsiteY85" fmla="*/ 291180 h 298273"/>
                <a:gd name="connsiteX86" fmla="*/ 2163 w 674427"/>
                <a:gd name="connsiteY86" fmla="*/ 290229 h 298273"/>
                <a:gd name="connsiteX87" fmla="*/ 8827 w 674427"/>
                <a:gd name="connsiteY87" fmla="*/ 281664 h 298273"/>
                <a:gd name="connsiteX88" fmla="*/ 259 w 674427"/>
                <a:gd name="connsiteY88" fmla="*/ 291180 h 298273"/>
                <a:gd name="connsiteX89" fmla="*/ 1211 w 674427"/>
                <a:gd name="connsiteY89" fmla="*/ 292132 h 298273"/>
                <a:gd name="connsiteX90" fmla="*/ 2163 w 674427"/>
                <a:gd name="connsiteY90" fmla="*/ 290229 h 298273"/>
                <a:gd name="connsiteX91" fmla="*/ 5019 w 674427"/>
                <a:gd name="connsiteY91" fmla="*/ 291180 h 298273"/>
                <a:gd name="connsiteX92" fmla="*/ 8827 w 674427"/>
                <a:gd name="connsiteY92" fmla="*/ 284519 h 298273"/>
                <a:gd name="connsiteX93" fmla="*/ 9778 w 674427"/>
                <a:gd name="connsiteY93" fmla="*/ 284519 h 298273"/>
                <a:gd name="connsiteX94" fmla="*/ 5019 w 674427"/>
                <a:gd name="connsiteY94" fmla="*/ 287374 h 298273"/>
                <a:gd name="connsiteX95" fmla="*/ 3115 w 674427"/>
                <a:gd name="connsiteY95" fmla="*/ 290229 h 298273"/>
                <a:gd name="connsiteX96" fmla="*/ 2163 w 674427"/>
                <a:gd name="connsiteY96" fmla="*/ 290229 h 298273"/>
                <a:gd name="connsiteX97" fmla="*/ 259 w 674427"/>
                <a:gd name="connsiteY97" fmla="*/ 292132 h 298273"/>
                <a:gd name="connsiteX98" fmla="*/ 5971 w 674427"/>
                <a:gd name="connsiteY98" fmla="*/ 297841 h 298273"/>
                <a:gd name="connsiteX99" fmla="*/ 9778 w 674427"/>
                <a:gd name="connsiteY99" fmla="*/ 294035 h 298273"/>
                <a:gd name="connsiteX100" fmla="*/ 14538 w 674427"/>
                <a:gd name="connsiteY100" fmla="*/ 294035 h 298273"/>
                <a:gd name="connsiteX101" fmla="*/ 15490 w 674427"/>
                <a:gd name="connsiteY101" fmla="*/ 292132 h 298273"/>
                <a:gd name="connsiteX102" fmla="*/ 19297 w 674427"/>
                <a:gd name="connsiteY102" fmla="*/ 292132 h 298273"/>
                <a:gd name="connsiteX103" fmla="*/ 24057 w 674427"/>
                <a:gd name="connsiteY103" fmla="*/ 290229 h 298273"/>
                <a:gd name="connsiteX104" fmla="*/ 25009 w 674427"/>
                <a:gd name="connsiteY104" fmla="*/ 289277 h 298273"/>
                <a:gd name="connsiteX105" fmla="*/ 32624 w 674427"/>
                <a:gd name="connsiteY105" fmla="*/ 285471 h 298273"/>
                <a:gd name="connsiteX106" fmla="*/ 35480 w 674427"/>
                <a:gd name="connsiteY106" fmla="*/ 288325 h 298273"/>
                <a:gd name="connsiteX107" fmla="*/ 32624 w 674427"/>
                <a:gd name="connsiteY107" fmla="*/ 288325 h 298273"/>
                <a:gd name="connsiteX108" fmla="*/ 29768 w 674427"/>
                <a:gd name="connsiteY108" fmla="*/ 292132 h 298273"/>
                <a:gd name="connsiteX109" fmla="*/ 35480 w 674427"/>
                <a:gd name="connsiteY109" fmla="*/ 290229 h 298273"/>
                <a:gd name="connsiteX110" fmla="*/ 34528 w 674427"/>
                <a:gd name="connsiteY110" fmla="*/ 290229 h 298273"/>
                <a:gd name="connsiteX111" fmla="*/ 42143 w 674427"/>
                <a:gd name="connsiteY111" fmla="*/ 286422 h 298273"/>
                <a:gd name="connsiteX112" fmla="*/ 42143 w 674427"/>
                <a:gd name="connsiteY112" fmla="*/ 288325 h 298273"/>
                <a:gd name="connsiteX113" fmla="*/ 44999 w 674427"/>
                <a:gd name="connsiteY113" fmla="*/ 287374 h 298273"/>
                <a:gd name="connsiteX114" fmla="*/ 44999 w 674427"/>
                <a:gd name="connsiteY114" fmla="*/ 287374 h 298273"/>
                <a:gd name="connsiteX115" fmla="*/ 48806 w 674427"/>
                <a:gd name="connsiteY115" fmla="*/ 285471 h 298273"/>
                <a:gd name="connsiteX116" fmla="*/ 61181 w 674427"/>
                <a:gd name="connsiteY116" fmla="*/ 276907 h 298273"/>
                <a:gd name="connsiteX117" fmla="*/ 64989 w 674427"/>
                <a:gd name="connsiteY117" fmla="*/ 275004 h 298273"/>
                <a:gd name="connsiteX118" fmla="*/ 50710 w 674427"/>
                <a:gd name="connsiteY118" fmla="*/ 284519 h 298273"/>
                <a:gd name="connsiteX119" fmla="*/ 71652 w 674427"/>
                <a:gd name="connsiteY119" fmla="*/ 272149 h 298273"/>
                <a:gd name="connsiteX120" fmla="*/ 73556 w 674427"/>
                <a:gd name="connsiteY120" fmla="*/ 270246 h 298273"/>
                <a:gd name="connsiteX121" fmla="*/ 75460 w 674427"/>
                <a:gd name="connsiteY121" fmla="*/ 271197 h 298273"/>
                <a:gd name="connsiteX122" fmla="*/ 75460 w 674427"/>
                <a:gd name="connsiteY122" fmla="*/ 271197 h 298273"/>
                <a:gd name="connsiteX123" fmla="*/ 77363 w 674427"/>
                <a:gd name="connsiteY123" fmla="*/ 271197 h 298273"/>
                <a:gd name="connsiteX124" fmla="*/ 89738 w 674427"/>
                <a:gd name="connsiteY124" fmla="*/ 264536 h 298273"/>
                <a:gd name="connsiteX125" fmla="*/ 85930 w 674427"/>
                <a:gd name="connsiteY125" fmla="*/ 269294 h 298273"/>
                <a:gd name="connsiteX126" fmla="*/ 84979 w 674427"/>
                <a:gd name="connsiteY126" fmla="*/ 269294 h 298273"/>
                <a:gd name="connsiteX127" fmla="*/ 83075 w 674427"/>
                <a:gd name="connsiteY127" fmla="*/ 271197 h 298273"/>
                <a:gd name="connsiteX128" fmla="*/ 89738 w 674427"/>
                <a:gd name="connsiteY128" fmla="*/ 267391 h 298273"/>
                <a:gd name="connsiteX129" fmla="*/ 91642 w 674427"/>
                <a:gd name="connsiteY129" fmla="*/ 267391 h 298273"/>
                <a:gd name="connsiteX130" fmla="*/ 91642 w 674427"/>
                <a:gd name="connsiteY130" fmla="*/ 267391 h 298273"/>
                <a:gd name="connsiteX131" fmla="*/ 92594 w 674427"/>
                <a:gd name="connsiteY131" fmla="*/ 268343 h 298273"/>
                <a:gd name="connsiteX132" fmla="*/ 92594 w 674427"/>
                <a:gd name="connsiteY132" fmla="*/ 268343 h 298273"/>
                <a:gd name="connsiteX133" fmla="*/ 105920 w 674427"/>
                <a:gd name="connsiteY133" fmla="*/ 261681 h 298273"/>
                <a:gd name="connsiteX134" fmla="*/ 106872 w 674427"/>
                <a:gd name="connsiteY134" fmla="*/ 259778 h 298273"/>
                <a:gd name="connsiteX135" fmla="*/ 119247 w 674427"/>
                <a:gd name="connsiteY135" fmla="*/ 255972 h 298273"/>
                <a:gd name="connsiteX136" fmla="*/ 118295 w 674427"/>
                <a:gd name="connsiteY136" fmla="*/ 254069 h 298273"/>
                <a:gd name="connsiteX137" fmla="*/ 122103 w 674427"/>
                <a:gd name="connsiteY137" fmla="*/ 253117 h 298273"/>
                <a:gd name="connsiteX138" fmla="*/ 126862 w 674427"/>
                <a:gd name="connsiteY138" fmla="*/ 255972 h 298273"/>
                <a:gd name="connsiteX139" fmla="*/ 131622 w 674427"/>
                <a:gd name="connsiteY139" fmla="*/ 254069 h 298273"/>
                <a:gd name="connsiteX140" fmla="*/ 133525 w 674427"/>
                <a:gd name="connsiteY140" fmla="*/ 251214 h 298273"/>
                <a:gd name="connsiteX141" fmla="*/ 139237 w 674427"/>
                <a:gd name="connsiteY141" fmla="*/ 249311 h 298273"/>
                <a:gd name="connsiteX142" fmla="*/ 140189 w 674427"/>
                <a:gd name="connsiteY142" fmla="*/ 251214 h 298273"/>
                <a:gd name="connsiteX143" fmla="*/ 148756 w 674427"/>
                <a:gd name="connsiteY143" fmla="*/ 248360 h 298273"/>
                <a:gd name="connsiteX144" fmla="*/ 155419 w 674427"/>
                <a:gd name="connsiteY144" fmla="*/ 243602 h 298273"/>
                <a:gd name="connsiteX145" fmla="*/ 161131 w 674427"/>
                <a:gd name="connsiteY145" fmla="*/ 238844 h 298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674427" h="298273">
                  <a:moveTo>
                    <a:pt x="161131" y="238844"/>
                  </a:moveTo>
                  <a:lnTo>
                    <a:pt x="163986" y="237892"/>
                  </a:lnTo>
                  <a:cubicBezTo>
                    <a:pt x="155419" y="242650"/>
                    <a:pt x="145900" y="246456"/>
                    <a:pt x="136381" y="250263"/>
                  </a:cubicBezTo>
                  <a:cubicBezTo>
                    <a:pt x="158275" y="244553"/>
                    <a:pt x="183024" y="236941"/>
                    <a:pt x="194447" y="220764"/>
                  </a:cubicBezTo>
                  <a:cubicBezTo>
                    <a:pt x="198255" y="224570"/>
                    <a:pt x="218245" y="216958"/>
                    <a:pt x="218245" y="216006"/>
                  </a:cubicBezTo>
                  <a:cubicBezTo>
                    <a:pt x="222052" y="213152"/>
                    <a:pt x="225860" y="210297"/>
                    <a:pt x="229667" y="208394"/>
                  </a:cubicBezTo>
                  <a:cubicBezTo>
                    <a:pt x="226812" y="210297"/>
                    <a:pt x="224908" y="212200"/>
                    <a:pt x="222052" y="213152"/>
                  </a:cubicBezTo>
                  <a:cubicBezTo>
                    <a:pt x="224908" y="211248"/>
                    <a:pt x="227764" y="209345"/>
                    <a:pt x="229667" y="208394"/>
                  </a:cubicBezTo>
                  <a:cubicBezTo>
                    <a:pt x="254417" y="192217"/>
                    <a:pt x="282974" y="180798"/>
                    <a:pt x="313435" y="169379"/>
                  </a:cubicBezTo>
                  <a:cubicBezTo>
                    <a:pt x="329617" y="162718"/>
                    <a:pt x="374356" y="143687"/>
                    <a:pt x="392442" y="137978"/>
                  </a:cubicBezTo>
                  <a:lnTo>
                    <a:pt x="400057" y="135123"/>
                  </a:lnTo>
                  <a:cubicBezTo>
                    <a:pt x="396250" y="136074"/>
                    <a:pt x="396250" y="136074"/>
                    <a:pt x="391490" y="137978"/>
                  </a:cubicBezTo>
                  <a:cubicBezTo>
                    <a:pt x="401009" y="132268"/>
                    <a:pt x="409576" y="126559"/>
                    <a:pt x="418144" y="121801"/>
                  </a:cubicBezTo>
                  <a:cubicBezTo>
                    <a:pt x="416240" y="121801"/>
                    <a:pt x="415288" y="120849"/>
                    <a:pt x="411480" y="121801"/>
                  </a:cubicBezTo>
                  <a:lnTo>
                    <a:pt x="416240" y="119898"/>
                  </a:lnTo>
                  <a:cubicBezTo>
                    <a:pt x="419095" y="116092"/>
                    <a:pt x="429566" y="112285"/>
                    <a:pt x="433374" y="109430"/>
                  </a:cubicBezTo>
                  <a:cubicBezTo>
                    <a:pt x="432422" y="111334"/>
                    <a:pt x="436230" y="109430"/>
                    <a:pt x="440037" y="108479"/>
                  </a:cubicBezTo>
                  <a:lnTo>
                    <a:pt x="438133" y="108479"/>
                  </a:lnTo>
                  <a:cubicBezTo>
                    <a:pt x="450508" y="103721"/>
                    <a:pt x="463835" y="97060"/>
                    <a:pt x="474306" y="92302"/>
                  </a:cubicBezTo>
                  <a:cubicBezTo>
                    <a:pt x="476209" y="91351"/>
                    <a:pt x="477161" y="91351"/>
                    <a:pt x="478113" y="91351"/>
                  </a:cubicBezTo>
                  <a:lnTo>
                    <a:pt x="488584" y="86593"/>
                  </a:lnTo>
                  <a:cubicBezTo>
                    <a:pt x="488584" y="88496"/>
                    <a:pt x="498103" y="84690"/>
                    <a:pt x="493344" y="87544"/>
                  </a:cubicBezTo>
                  <a:cubicBezTo>
                    <a:pt x="500007" y="82787"/>
                    <a:pt x="508574" y="80883"/>
                    <a:pt x="515237" y="76126"/>
                  </a:cubicBezTo>
                  <a:cubicBezTo>
                    <a:pt x="528564" y="70416"/>
                    <a:pt x="541891" y="64707"/>
                    <a:pt x="555217" y="58997"/>
                  </a:cubicBezTo>
                  <a:cubicBezTo>
                    <a:pt x="568544" y="53288"/>
                    <a:pt x="582822" y="47578"/>
                    <a:pt x="596149" y="40917"/>
                  </a:cubicBezTo>
                  <a:lnTo>
                    <a:pt x="595197" y="40917"/>
                  </a:lnTo>
                  <a:cubicBezTo>
                    <a:pt x="604716" y="36160"/>
                    <a:pt x="612331" y="31402"/>
                    <a:pt x="624706" y="27596"/>
                  </a:cubicBezTo>
                  <a:cubicBezTo>
                    <a:pt x="632321" y="22838"/>
                    <a:pt x="644696" y="18080"/>
                    <a:pt x="646599" y="14274"/>
                  </a:cubicBezTo>
                  <a:cubicBezTo>
                    <a:pt x="656118" y="10467"/>
                    <a:pt x="659926" y="8564"/>
                    <a:pt x="669445" y="4758"/>
                  </a:cubicBezTo>
                  <a:cubicBezTo>
                    <a:pt x="666589" y="3806"/>
                    <a:pt x="678012" y="0"/>
                    <a:pt x="673253" y="0"/>
                  </a:cubicBezTo>
                  <a:cubicBezTo>
                    <a:pt x="666589" y="0"/>
                    <a:pt x="666589" y="1903"/>
                    <a:pt x="659926" y="1903"/>
                  </a:cubicBezTo>
                  <a:lnTo>
                    <a:pt x="659926" y="1903"/>
                  </a:lnTo>
                  <a:cubicBezTo>
                    <a:pt x="633273" y="7613"/>
                    <a:pt x="607572" y="15225"/>
                    <a:pt x="581870" y="23789"/>
                  </a:cubicBezTo>
                  <a:cubicBezTo>
                    <a:pt x="565688" y="31402"/>
                    <a:pt x="546650" y="37111"/>
                    <a:pt x="528564" y="44724"/>
                  </a:cubicBezTo>
                  <a:cubicBezTo>
                    <a:pt x="509526" y="52336"/>
                    <a:pt x="489536" y="61852"/>
                    <a:pt x="474306" y="69465"/>
                  </a:cubicBezTo>
                  <a:cubicBezTo>
                    <a:pt x="470498" y="71368"/>
                    <a:pt x="467642" y="71368"/>
                    <a:pt x="463835" y="72319"/>
                  </a:cubicBezTo>
                  <a:cubicBezTo>
                    <a:pt x="449556" y="78980"/>
                    <a:pt x="430518" y="86593"/>
                    <a:pt x="414336" y="94205"/>
                  </a:cubicBezTo>
                  <a:lnTo>
                    <a:pt x="415288" y="94205"/>
                  </a:lnTo>
                  <a:cubicBezTo>
                    <a:pt x="406721" y="98012"/>
                    <a:pt x="399106" y="99915"/>
                    <a:pt x="390538" y="103721"/>
                  </a:cubicBezTo>
                  <a:cubicBezTo>
                    <a:pt x="390538" y="103721"/>
                    <a:pt x="389587" y="104673"/>
                    <a:pt x="388635" y="105624"/>
                  </a:cubicBezTo>
                  <a:cubicBezTo>
                    <a:pt x="386731" y="104673"/>
                    <a:pt x="340088" y="132268"/>
                    <a:pt x="336280" y="132268"/>
                  </a:cubicBezTo>
                  <a:lnTo>
                    <a:pt x="333424" y="134171"/>
                  </a:lnTo>
                  <a:cubicBezTo>
                    <a:pt x="315338" y="141784"/>
                    <a:pt x="295348" y="146542"/>
                    <a:pt x="280118" y="154154"/>
                  </a:cubicBezTo>
                  <a:cubicBezTo>
                    <a:pt x="277262" y="157009"/>
                    <a:pt x="273455" y="158912"/>
                    <a:pt x="271551" y="161767"/>
                  </a:cubicBezTo>
                  <a:cubicBezTo>
                    <a:pt x="268695" y="161767"/>
                    <a:pt x="268695" y="163670"/>
                    <a:pt x="264888" y="165573"/>
                  </a:cubicBezTo>
                  <a:cubicBezTo>
                    <a:pt x="254417" y="165573"/>
                    <a:pt x="250609" y="169379"/>
                    <a:pt x="255369" y="169379"/>
                  </a:cubicBezTo>
                  <a:cubicBezTo>
                    <a:pt x="248705" y="173186"/>
                    <a:pt x="242042" y="176040"/>
                    <a:pt x="235379" y="178895"/>
                  </a:cubicBezTo>
                  <a:cubicBezTo>
                    <a:pt x="232523" y="180798"/>
                    <a:pt x="229667" y="181750"/>
                    <a:pt x="227764" y="183653"/>
                  </a:cubicBezTo>
                  <a:cubicBezTo>
                    <a:pt x="225860" y="185556"/>
                    <a:pt x="223956" y="185556"/>
                    <a:pt x="222052" y="184604"/>
                  </a:cubicBezTo>
                  <a:cubicBezTo>
                    <a:pt x="216341" y="188411"/>
                    <a:pt x="217293" y="186508"/>
                    <a:pt x="210629" y="189362"/>
                  </a:cubicBezTo>
                  <a:cubicBezTo>
                    <a:pt x="208726" y="188411"/>
                    <a:pt x="195399" y="198878"/>
                    <a:pt x="193495" y="199829"/>
                  </a:cubicBezTo>
                  <a:lnTo>
                    <a:pt x="194447" y="198878"/>
                  </a:lnTo>
                  <a:cubicBezTo>
                    <a:pt x="186832" y="202684"/>
                    <a:pt x="181120" y="201733"/>
                    <a:pt x="173505" y="205539"/>
                  </a:cubicBezTo>
                  <a:cubicBezTo>
                    <a:pt x="152563" y="214103"/>
                    <a:pt x="131622" y="225522"/>
                    <a:pt x="112584" y="235038"/>
                  </a:cubicBezTo>
                  <a:cubicBezTo>
                    <a:pt x="112584" y="235989"/>
                    <a:pt x="116391" y="233134"/>
                    <a:pt x="117343" y="234086"/>
                  </a:cubicBezTo>
                  <a:cubicBezTo>
                    <a:pt x="105920" y="238844"/>
                    <a:pt x="94498" y="242650"/>
                    <a:pt x="83075" y="248360"/>
                  </a:cubicBezTo>
                  <a:cubicBezTo>
                    <a:pt x="81171" y="249311"/>
                    <a:pt x="78315" y="249311"/>
                    <a:pt x="77363" y="249311"/>
                  </a:cubicBezTo>
                  <a:cubicBezTo>
                    <a:pt x="73556" y="250263"/>
                    <a:pt x="75460" y="251214"/>
                    <a:pt x="72604" y="252166"/>
                  </a:cubicBezTo>
                  <a:lnTo>
                    <a:pt x="71652" y="251214"/>
                  </a:lnTo>
                  <a:cubicBezTo>
                    <a:pt x="68796" y="254069"/>
                    <a:pt x="64989" y="252166"/>
                    <a:pt x="62133" y="255021"/>
                  </a:cubicBezTo>
                  <a:cubicBezTo>
                    <a:pt x="62133" y="255972"/>
                    <a:pt x="61181" y="255972"/>
                    <a:pt x="59277" y="256924"/>
                  </a:cubicBezTo>
                  <a:cubicBezTo>
                    <a:pt x="58325" y="255972"/>
                    <a:pt x="55470" y="258827"/>
                    <a:pt x="55470" y="257875"/>
                  </a:cubicBezTo>
                  <a:lnTo>
                    <a:pt x="55470" y="257875"/>
                  </a:lnTo>
                  <a:cubicBezTo>
                    <a:pt x="54518" y="257875"/>
                    <a:pt x="54518" y="258827"/>
                    <a:pt x="53566" y="258827"/>
                  </a:cubicBezTo>
                  <a:cubicBezTo>
                    <a:pt x="52614" y="259778"/>
                    <a:pt x="40239" y="270246"/>
                    <a:pt x="39287" y="271197"/>
                  </a:cubicBezTo>
                  <a:lnTo>
                    <a:pt x="38335" y="271197"/>
                  </a:lnTo>
                  <a:cubicBezTo>
                    <a:pt x="36432" y="272149"/>
                    <a:pt x="35480" y="274052"/>
                    <a:pt x="37384" y="273100"/>
                  </a:cubicBezTo>
                  <a:lnTo>
                    <a:pt x="34528" y="274052"/>
                  </a:lnTo>
                  <a:lnTo>
                    <a:pt x="34528" y="274052"/>
                  </a:lnTo>
                  <a:lnTo>
                    <a:pt x="31672" y="275004"/>
                  </a:lnTo>
                  <a:cubicBezTo>
                    <a:pt x="30720" y="275004"/>
                    <a:pt x="30720" y="275004"/>
                    <a:pt x="30720" y="274052"/>
                  </a:cubicBezTo>
                  <a:cubicBezTo>
                    <a:pt x="29768" y="275004"/>
                    <a:pt x="27865" y="275955"/>
                    <a:pt x="26913" y="276907"/>
                  </a:cubicBezTo>
                  <a:cubicBezTo>
                    <a:pt x="31672" y="275955"/>
                    <a:pt x="36432" y="274052"/>
                    <a:pt x="41191" y="274052"/>
                  </a:cubicBezTo>
                  <a:cubicBezTo>
                    <a:pt x="39287" y="275004"/>
                    <a:pt x="36432" y="275955"/>
                    <a:pt x="34528" y="276907"/>
                  </a:cubicBezTo>
                  <a:cubicBezTo>
                    <a:pt x="31672" y="276907"/>
                    <a:pt x="26913" y="278810"/>
                    <a:pt x="23105" y="279761"/>
                  </a:cubicBezTo>
                  <a:cubicBezTo>
                    <a:pt x="22153" y="279761"/>
                    <a:pt x="22153" y="281664"/>
                    <a:pt x="20249" y="281664"/>
                  </a:cubicBezTo>
                  <a:cubicBezTo>
                    <a:pt x="19297" y="280713"/>
                    <a:pt x="18346" y="282616"/>
                    <a:pt x="16442" y="282616"/>
                  </a:cubicBezTo>
                  <a:cubicBezTo>
                    <a:pt x="17394" y="281664"/>
                    <a:pt x="19297" y="280713"/>
                    <a:pt x="21201" y="279761"/>
                  </a:cubicBezTo>
                  <a:cubicBezTo>
                    <a:pt x="20249" y="278810"/>
                    <a:pt x="16442" y="280713"/>
                    <a:pt x="15490" y="281664"/>
                  </a:cubicBezTo>
                  <a:cubicBezTo>
                    <a:pt x="15490" y="282616"/>
                    <a:pt x="11682" y="283568"/>
                    <a:pt x="9778" y="284519"/>
                  </a:cubicBezTo>
                  <a:cubicBezTo>
                    <a:pt x="9778" y="282616"/>
                    <a:pt x="7875" y="284519"/>
                    <a:pt x="5971" y="284519"/>
                  </a:cubicBezTo>
                  <a:cubicBezTo>
                    <a:pt x="4067" y="285471"/>
                    <a:pt x="4067" y="285471"/>
                    <a:pt x="5019" y="286422"/>
                  </a:cubicBezTo>
                  <a:cubicBezTo>
                    <a:pt x="5019" y="288325"/>
                    <a:pt x="10730" y="284519"/>
                    <a:pt x="9778" y="286422"/>
                  </a:cubicBezTo>
                  <a:cubicBezTo>
                    <a:pt x="8827" y="286422"/>
                    <a:pt x="5971" y="287374"/>
                    <a:pt x="5019" y="288325"/>
                  </a:cubicBezTo>
                  <a:cubicBezTo>
                    <a:pt x="5019" y="289277"/>
                    <a:pt x="5971" y="288325"/>
                    <a:pt x="5971" y="289277"/>
                  </a:cubicBezTo>
                  <a:cubicBezTo>
                    <a:pt x="4067" y="290229"/>
                    <a:pt x="3115" y="291180"/>
                    <a:pt x="1211" y="291180"/>
                  </a:cubicBezTo>
                  <a:lnTo>
                    <a:pt x="2163" y="290229"/>
                  </a:lnTo>
                  <a:cubicBezTo>
                    <a:pt x="259" y="291180"/>
                    <a:pt x="11682" y="280713"/>
                    <a:pt x="8827" y="281664"/>
                  </a:cubicBezTo>
                  <a:cubicBezTo>
                    <a:pt x="9778" y="281664"/>
                    <a:pt x="-1644" y="291180"/>
                    <a:pt x="259" y="291180"/>
                  </a:cubicBezTo>
                  <a:cubicBezTo>
                    <a:pt x="2163" y="291180"/>
                    <a:pt x="259" y="293083"/>
                    <a:pt x="1211" y="292132"/>
                  </a:cubicBezTo>
                  <a:lnTo>
                    <a:pt x="2163" y="290229"/>
                  </a:lnTo>
                  <a:cubicBezTo>
                    <a:pt x="4067" y="289277"/>
                    <a:pt x="5019" y="290229"/>
                    <a:pt x="5019" y="291180"/>
                  </a:cubicBezTo>
                  <a:cubicBezTo>
                    <a:pt x="2163" y="292132"/>
                    <a:pt x="11682" y="282616"/>
                    <a:pt x="8827" y="284519"/>
                  </a:cubicBezTo>
                  <a:lnTo>
                    <a:pt x="9778" y="284519"/>
                  </a:lnTo>
                  <a:cubicBezTo>
                    <a:pt x="8827" y="285471"/>
                    <a:pt x="5971" y="287374"/>
                    <a:pt x="5019" y="287374"/>
                  </a:cubicBezTo>
                  <a:cubicBezTo>
                    <a:pt x="5019" y="288325"/>
                    <a:pt x="4067" y="289277"/>
                    <a:pt x="3115" y="290229"/>
                  </a:cubicBezTo>
                  <a:lnTo>
                    <a:pt x="2163" y="290229"/>
                  </a:lnTo>
                  <a:cubicBezTo>
                    <a:pt x="1211" y="291180"/>
                    <a:pt x="-692" y="292132"/>
                    <a:pt x="259" y="292132"/>
                  </a:cubicBezTo>
                  <a:cubicBezTo>
                    <a:pt x="7875" y="288325"/>
                    <a:pt x="-1644" y="300696"/>
                    <a:pt x="5971" y="297841"/>
                  </a:cubicBezTo>
                  <a:cubicBezTo>
                    <a:pt x="2163" y="297841"/>
                    <a:pt x="5971" y="295938"/>
                    <a:pt x="9778" y="294035"/>
                  </a:cubicBezTo>
                  <a:cubicBezTo>
                    <a:pt x="10730" y="294035"/>
                    <a:pt x="11682" y="294035"/>
                    <a:pt x="14538" y="294035"/>
                  </a:cubicBezTo>
                  <a:cubicBezTo>
                    <a:pt x="16442" y="293083"/>
                    <a:pt x="15490" y="293083"/>
                    <a:pt x="15490" y="292132"/>
                  </a:cubicBezTo>
                  <a:cubicBezTo>
                    <a:pt x="16442" y="292132"/>
                    <a:pt x="19297" y="291180"/>
                    <a:pt x="19297" y="292132"/>
                  </a:cubicBezTo>
                  <a:cubicBezTo>
                    <a:pt x="20249" y="290229"/>
                    <a:pt x="22153" y="291180"/>
                    <a:pt x="24057" y="290229"/>
                  </a:cubicBezTo>
                  <a:cubicBezTo>
                    <a:pt x="25961" y="289277"/>
                    <a:pt x="24057" y="290229"/>
                    <a:pt x="25009" y="289277"/>
                  </a:cubicBezTo>
                  <a:cubicBezTo>
                    <a:pt x="27865" y="288325"/>
                    <a:pt x="30720" y="286422"/>
                    <a:pt x="32624" y="285471"/>
                  </a:cubicBezTo>
                  <a:cubicBezTo>
                    <a:pt x="33576" y="285471"/>
                    <a:pt x="36432" y="285471"/>
                    <a:pt x="35480" y="288325"/>
                  </a:cubicBezTo>
                  <a:cubicBezTo>
                    <a:pt x="31672" y="290229"/>
                    <a:pt x="36432" y="285471"/>
                    <a:pt x="32624" y="288325"/>
                  </a:cubicBezTo>
                  <a:cubicBezTo>
                    <a:pt x="35480" y="289277"/>
                    <a:pt x="29768" y="290229"/>
                    <a:pt x="29768" y="292132"/>
                  </a:cubicBezTo>
                  <a:cubicBezTo>
                    <a:pt x="31672" y="292132"/>
                    <a:pt x="33576" y="291180"/>
                    <a:pt x="35480" y="290229"/>
                  </a:cubicBezTo>
                  <a:lnTo>
                    <a:pt x="34528" y="290229"/>
                  </a:lnTo>
                  <a:cubicBezTo>
                    <a:pt x="36432" y="289277"/>
                    <a:pt x="40239" y="287374"/>
                    <a:pt x="42143" y="286422"/>
                  </a:cubicBezTo>
                  <a:cubicBezTo>
                    <a:pt x="42143" y="287374"/>
                    <a:pt x="43095" y="287374"/>
                    <a:pt x="42143" y="288325"/>
                  </a:cubicBezTo>
                  <a:lnTo>
                    <a:pt x="44999" y="287374"/>
                  </a:lnTo>
                  <a:cubicBezTo>
                    <a:pt x="44999" y="287374"/>
                    <a:pt x="44999" y="286422"/>
                    <a:pt x="44999" y="287374"/>
                  </a:cubicBezTo>
                  <a:cubicBezTo>
                    <a:pt x="45951" y="286422"/>
                    <a:pt x="46903" y="286422"/>
                    <a:pt x="48806" y="285471"/>
                  </a:cubicBezTo>
                  <a:cubicBezTo>
                    <a:pt x="49758" y="285471"/>
                    <a:pt x="61181" y="275955"/>
                    <a:pt x="61181" y="276907"/>
                  </a:cubicBezTo>
                  <a:cubicBezTo>
                    <a:pt x="63085" y="275955"/>
                    <a:pt x="64037" y="276907"/>
                    <a:pt x="64989" y="275004"/>
                  </a:cubicBezTo>
                  <a:cubicBezTo>
                    <a:pt x="64989" y="274052"/>
                    <a:pt x="48806" y="285471"/>
                    <a:pt x="50710" y="284519"/>
                  </a:cubicBezTo>
                  <a:cubicBezTo>
                    <a:pt x="52614" y="284519"/>
                    <a:pt x="69748" y="271197"/>
                    <a:pt x="71652" y="272149"/>
                  </a:cubicBezTo>
                  <a:cubicBezTo>
                    <a:pt x="72604" y="271197"/>
                    <a:pt x="74508" y="270246"/>
                    <a:pt x="73556" y="270246"/>
                  </a:cubicBezTo>
                  <a:cubicBezTo>
                    <a:pt x="76411" y="269294"/>
                    <a:pt x="73556" y="272149"/>
                    <a:pt x="75460" y="271197"/>
                  </a:cubicBezTo>
                  <a:lnTo>
                    <a:pt x="75460" y="271197"/>
                  </a:lnTo>
                  <a:lnTo>
                    <a:pt x="77363" y="271197"/>
                  </a:lnTo>
                  <a:cubicBezTo>
                    <a:pt x="80219" y="268343"/>
                    <a:pt x="85930" y="267391"/>
                    <a:pt x="89738" y="264536"/>
                  </a:cubicBezTo>
                  <a:cubicBezTo>
                    <a:pt x="88786" y="265488"/>
                    <a:pt x="88786" y="267391"/>
                    <a:pt x="85930" y="269294"/>
                  </a:cubicBezTo>
                  <a:lnTo>
                    <a:pt x="84979" y="269294"/>
                  </a:lnTo>
                  <a:lnTo>
                    <a:pt x="83075" y="271197"/>
                  </a:lnTo>
                  <a:cubicBezTo>
                    <a:pt x="85930" y="270246"/>
                    <a:pt x="87834" y="269294"/>
                    <a:pt x="89738" y="267391"/>
                  </a:cubicBezTo>
                  <a:cubicBezTo>
                    <a:pt x="90690" y="267391"/>
                    <a:pt x="90690" y="267391"/>
                    <a:pt x="91642" y="267391"/>
                  </a:cubicBezTo>
                  <a:lnTo>
                    <a:pt x="91642" y="267391"/>
                  </a:lnTo>
                  <a:cubicBezTo>
                    <a:pt x="92594" y="267391"/>
                    <a:pt x="92594" y="267391"/>
                    <a:pt x="92594" y="268343"/>
                  </a:cubicBezTo>
                  <a:lnTo>
                    <a:pt x="92594" y="268343"/>
                  </a:lnTo>
                  <a:cubicBezTo>
                    <a:pt x="94498" y="269294"/>
                    <a:pt x="101161" y="262633"/>
                    <a:pt x="105920" y="261681"/>
                  </a:cubicBezTo>
                  <a:cubicBezTo>
                    <a:pt x="106872" y="260730"/>
                    <a:pt x="105920" y="261681"/>
                    <a:pt x="106872" y="259778"/>
                  </a:cubicBezTo>
                  <a:cubicBezTo>
                    <a:pt x="111632" y="258827"/>
                    <a:pt x="114487" y="257875"/>
                    <a:pt x="119247" y="255972"/>
                  </a:cubicBezTo>
                  <a:cubicBezTo>
                    <a:pt x="120199" y="254069"/>
                    <a:pt x="120199" y="254069"/>
                    <a:pt x="118295" y="254069"/>
                  </a:cubicBezTo>
                  <a:lnTo>
                    <a:pt x="122103" y="253117"/>
                  </a:lnTo>
                  <a:cubicBezTo>
                    <a:pt x="120199" y="256924"/>
                    <a:pt x="129718" y="252166"/>
                    <a:pt x="126862" y="255972"/>
                  </a:cubicBezTo>
                  <a:cubicBezTo>
                    <a:pt x="127814" y="255972"/>
                    <a:pt x="129718" y="255021"/>
                    <a:pt x="131622" y="254069"/>
                  </a:cubicBezTo>
                  <a:cubicBezTo>
                    <a:pt x="131622" y="253117"/>
                    <a:pt x="131622" y="252166"/>
                    <a:pt x="133525" y="251214"/>
                  </a:cubicBezTo>
                  <a:cubicBezTo>
                    <a:pt x="137333" y="250263"/>
                    <a:pt x="136381" y="250263"/>
                    <a:pt x="139237" y="249311"/>
                  </a:cubicBezTo>
                  <a:cubicBezTo>
                    <a:pt x="140189" y="249311"/>
                    <a:pt x="139237" y="250263"/>
                    <a:pt x="140189" y="251214"/>
                  </a:cubicBezTo>
                  <a:cubicBezTo>
                    <a:pt x="143996" y="248360"/>
                    <a:pt x="144948" y="251214"/>
                    <a:pt x="148756" y="248360"/>
                  </a:cubicBezTo>
                  <a:cubicBezTo>
                    <a:pt x="151612" y="247408"/>
                    <a:pt x="156371" y="244553"/>
                    <a:pt x="155419" y="243602"/>
                  </a:cubicBezTo>
                  <a:cubicBezTo>
                    <a:pt x="161131" y="236941"/>
                    <a:pt x="161131" y="237892"/>
                    <a:pt x="161131" y="238844"/>
                  </a:cubicBezTo>
                  <a:close/>
                </a:path>
              </a:pathLst>
            </a:custGeom>
            <a:solidFill>
              <a:srgbClr val="144573"/>
            </a:solidFill>
            <a:ln w="95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 sz="1800"/>
            </a:p>
          </p:txBody>
        </p:sp>
        <p:sp>
          <p:nvSpPr>
            <p:cNvPr id="11" name="Kombinationstegning 10">
              <a:extLst>
                <a:ext uri="{FF2B5EF4-FFF2-40B4-BE49-F238E27FC236}">
                  <a16:creationId xmlns:a16="http://schemas.microsoft.com/office/drawing/2014/main" id="{F4F00D4A-85ED-1F45-9352-DB89BAE5780C}"/>
                </a:ext>
              </a:extLst>
            </p:cNvPr>
            <p:cNvSpPr/>
            <p:nvPr/>
          </p:nvSpPr>
          <p:spPr>
            <a:xfrm>
              <a:off x="4230253" y="1614978"/>
              <a:ext cx="327509" cy="227766"/>
            </a:xfrm>
            <a:custGeom>
              <a:avLst/>
              <a:gdLst>
                <a:gd name="connsiteX0" fmla="*/ 139034 w 327509"/>
                <a:gd name="connsiteY0" fmla="*/ 58997 h 227766"/>
                <a:gd name="connsiteX1" fmla="*/ 141889 w 327509"/>
                <a:gd name="connsiteY1" fmla="*/ 58997 h 227766"/>
                <a:gd name="connsiteX2" fmla="*/ 116188 w 327509"/>
                <a:gd name="connsiteY2" fmla="*/ 61852 h 227766"/>
                <a:gd name="connsiteX3" fmla="*/ 170446 w 327509"/>
                <a:gd name="connsiteY3" fmla="*/ 51385 h 227766"/>
                <a:gd name="connsiteX4" fmla="*/ 191388 w 327509"/>
                <a:gd name="connsiteY4" fmla="*/ 54239 h 227766"/>
                <a:gd name="connsiteX5" fmla="*/ 201859 w 327509"/>
                <a:gd name="connsiteY5" fmla="*/ 50433 h 227766"/>
                <a:gd name="connsiteX6" fmla="*/ 194244 w 327509"/>
                <a:gd name="connsiteY6" fmla="*/ 53288 h 227766"/>
                <a:gd name="connsiteX7" fmla="*/ 201859 w 327509"/>
                <a:gd name="connsiteY7" fmla="*/ 50433 h 227766"/>
                <a:gd name="connsiteX8" fmla="*/ 210426 w 327509"/>
                <a:gd name="connsiteY8" fmla="*/ 47578 h 227766"/>
                <a:gd name="connsiteX9" fmla="*/ 218041 w 327509"/>
                <a:gd name="connsiteY9" fmla="*/ 45675 h 227766"/>
                <a:gd name="connsiteX10" fmla="*/ 224705 w 327509"/>
                <a:gd name="connsiteY10" fmla="*/ 43772 h 227766"/>
                <a:gd name="connsiteX11" fmla="*/ 231368 w 327509"/>
                <a:gd name="connsiteY11" fmla="*/ 44724 h 227766"/>
                <a:gd name="connsiteX12" fmla="*/ 231368 w 327509"/>
                <a:gd name="connsiteY12" fmla="*/ 44724 h 227766"/>
                <a:gd name="connsiteX13" fmla="*/ 230416 w 327509"/>
                <a:gd name="connsiteY13" fmla="*/ 45675 h 227766"/>
                <a:gd name="connsiteX14" fmla="*/ 225657 w 327509"/>
                <a:gd name="connsiteY14" fmla="*/ 48530 h 227766"/>
                <a:gd name="connsiteX15" fmla="*/ 219945 w 327509"/>
                <a:gd name="connsiteY15" fmla="*/ 51385 h 227766"/>
                <a:gd name="connsiteX16" fmla="*/ 218993 w 327509"/>
                <a:gd name="connsiteY16" fmla="*/ 51385 h 227766"/>
                <a:gd name="connsiteX17" fmla="*/ 219945 w 327509"/>
                <a:gd name="connsiteY17" fmla="*/ 51385 h 227766"/>
                <a:gd name="connsiteX18" fmla="*/ 220897 w 327509"/>
                <a:gd name="connsiteY18" fmla="*/ 53288 h 227766"/>
                <a:gd name="connsiteX19" fmla="*/ 220897 w 327509"/>
                <a:gd name="connsiteY19" fmla="*/ 53288 h 227766"/>
                <a:gd name="connsiteX20" fmla="*/ 219945 w 327509"/>
                <a:gd name="connsiteY20" fmla="*/ 54239 h 227766"/>
                <a:gd name="connsiteX21" fmla="*/ 218041 w 327509"/>
                <a:gd name="connsiteY21" fmla="*/ 56143 h 227766"/>
                <a:gd name="connsiteX22" fmla="*/ 213282 w 327509"/>
                <a:gd name="connsiteY22" fmla="*/ 60900 h 227766"/>
                <a:gd name="connsiteX23" fmla="*/ 218993 w 327509"/>
                <a:gd name="connsiteY23" fmla="*/ 59949 h 227766"/>
                <a:gd name="connsiteX24" fmla="*/ 215186 w 327509"/>
                <a:gd name="connsiteY24" fmla="*/ 61852 h 227766"/>
                <a:gd name="connsiteX25" fmla="*/ 203763 w 327509"/>
                <a:gd name="connsiteY25" fmla="*/ 75174 h 227766"/>
                <a:gd name="connsiteX26" fmla="*/ 199003 w 327509"/>
                <a:gd name="connsiteY26" fmla="*/ 77077 h 227766"/>
                <a:gd name="connsiteX27" fmla="*/ 199955 w 327509"/>
                <a:gd name="connsiteY27" fmla="*/ 77077 h 227766"/>
                <a:gd name="connsiteX28" fmla="*/ 174254 w 327509"/>
                <a:gd name="connsiteY28" fmla="*/ 98011 h 227766"/>
                <a:gd name="connsiteX29" fmla="*/ 171398 w 327509"/>
                <a:gd name="connsiteY29" fmla="*/ 98963 h 227766"/>
                <a:gd name="connsiteX30" fmla="*/ 164735 w 327509"/>
                <a:gd name="connsiteY30" fmla="*/ 105624 h 227766"/>
                <a:gd name="connsiteX31" fmla="*/ 160927 w 327509"/>
                <a:gd name="connsiteY31" fmla="*/ 105624 h 227766"/>
                <a:gd name="connsiteX32" fmla="*/ 146649 w 327509"/>
                <a:gd name="connsiteY32" fmla="*/ 120849 h 227766"/>
                <a:gd name="connsiteX33" fmla="*/ 91439 w 327509"/>
                <a:gd name="connsiteY33" fmla="*/ 170331 h 227766"/>
                <a:gd name="connsiteX34" fmla="*/ 92391 w 327509"/>
                <a:gd name="connsiteY34" fmla="*/ 170331 h 227766"/>
                <a:gd name="connsiteX35" fmla="*/ 73353 w 327509"/>
                <a:gd name="connsiteY35" fmla="*/ 189362 h 227766"/>
                <a:gd name="connsiteX36" fmla="*/ 60978 w 327509"/>
                <a:gd name="connsiteY36" fmla="*/ 207442 h 227766"/>
                <a:gd name="connsiteX37" fmla="*/ 46699 w 327509"/>
                <a:gd name="connsiteY37" fmla="*/ 222667 h 227766"/>
                <a:gd name="connsiteX38" fmla="*/ 45747 w 327509"/>
                <a:gd name="connsiteY38" fmla="*/ 227425 h 227766"/>
                <a:gd name="connsiteX39" fmla="*/ 55266 w 327509"/>
                <a:gd name="connsiteY39" fmla="*/ 221715 h 227766"/>
                <a:gd name="connsiteX40" fmla="*/ 55266 w 327509"/>
                <a:gd name="connsiteY40" fmla="*/ 221715 h 227766"/>
                <a:gd name="connsiteX41" fmla="*/ 110477 w 327509"/>
                <a:gd name="connsiteY41" fmla="*/ 182701 h 227766"/>
                <a:gd name="connsiteX42" fmla="*/ 146649 w 327509"/>
                <a:gd name="connsiteY42" fmla="*/ 152251 h 227766"/>
                <a:gd name="connsiteX43" fmla="*/ 183773 w 327509"/>
                <a:gd name="connsiteY43" fmla="*/ 118946 h 227766"/>
                <a:gd name="connsiteX44" fmla="*/ 191388 w 327509"/>
                <a:gd name="connsiteY44" fmla="*/ 114188 h 227766"/>
                <a:gd name="connsiteX45" fmla="*/ 226608 w 327509"/>
                <a:gd name="connsiteY45" fmla="*/ 84690 h 227766"/>
                <a:gd name="connsiteX46" fmla="*/ 225657 w 327509"/>
                <a:gd name="connsiteY46" fmla="*/ 84690 h 227766"/>
                <a:gd name="connsiteX47" fmla="*/ 234224 w 327509"/>
                <a:gd name="connsiteY47" fmla="*/ 78029 h 227766"/>
                <a:gd name="connsiteX48" fmla="*/ 238983 w 327509"/>
                <a:gd name="connsiteY48" fmla="*/ 75174 h 227766"/>
                <a:gd name="connsiteX49" fmla="*/ 240887 w 327509"/>
                <a:gd name="connsiteY49" fmla="*/ 73271 h 227766"/>
                <a:gd name="connsiteX50" fmla="*/ 244695 w 327509"/>
                <a:gd name="connsiteY50" fmla="*/ 70416 h 227766"/>
                <a:gd name="connsiteX51" fmla="*/ 246598 w 327509"/>
                <a:gd name="connsiteY51" fmla="*/ 68513 h 227766"/>
                <a:gd name="connsiteX52" fmla="*/ 275155 w 327509"/>
                <a:gd name="connsiteY52" fmla="*/ 43772 h 227766"/>
                <a:gd name="connsiteX53" fmla="*/ 300857 w 327509"/>
                <a:gd name="connsiteY53" fmla="*/ 20934 h 227766"/>
                <a:gd name="connsiteX54" fmla="*/ 302760 w 327509"/>
                <a:gd name="connsiteY54" fmla="*/ 19031 h 227766"/>
                <a:gd name="connsiteX55" fmla="*/ 320847 w 327509"/>
                <a:gd name="connsiteY55" fmla="*/ 5709 h 227766"/>
                <a:gd name="connsiteX56" fmla="*/ 325606 w 327509"/>
                <a:gd name="connsiteY56" fmla="*/ 1903 h 227766"/>
                <a:gd name="connsiteX57" fmla="*/ 326558 w 327509"/>
                <a:gd name="connsiteY57" fmla="*/ 951 h 227766"/>
                <a:gd name="connsiteX58" fmla="*/ 327510 w 327509"/>
                <a:gd name="connsiteY58" fmla="*/ 0 h 227766"/>
                <a:gd name="connsiteX59" fmla="*/ 325606 w 327509"/>
                <a:gd name="connsiteY59" fmla="*/ 0 h 227766"/>
                <a:gd name="connsiteX60" fmla="*/ 318943 w 327509"/>
                <a:gd name="connsiteY60" fmla="*/ 0 h 227766"/>
                <a:gd name="connsiteX61" fmla="*/ 285626 w 327509"/>
                <a:gd name="connsiteY61" fmla="*/ 3806 h 227766"/>
                <a:gd name="connsiteX62" fmla="*/ 265636 w 327509"/>
                <a:gd name="connsiteY62" fmla="*/ 10467 h 227766"/>
                <a:gd name="connsiteX63" fmla="*/ 255165 w 327509"/>
                <a:gd name="connsiteY63" fmla="*/ 13322 h 227766"/>
                <a:gd name="connsiteX64" fmla="*/ 244695 w 327509"/>
                <a:gd name="connsiteY64" fmla="*/ 12370 h 227766"/>
                <a:gd name="connsiteX65" fmla="*/ 243743 w 327509"/>
                <a:gd name="connsiteY65" fmla="*/ 14274 h 227766"/>
                <a:gd name="connsiteX66" fmla="*/ 216138 w 327509"/>
                <a:gd name="connsiteY66" fmla="*/ 19983 h 227766"/>
                <a:gd name="connsiteX67" fmla="*/ 213282 w 327509"/>
                <a:gd name="connsiteY67" fmla="*/ 20934 h 227766"/>
                <a:gd name="connsiteX68" fmla="*/ 211378 w 327509"/>
                <a:gd name="connsiteY68" fmla="*/ 21886 h 227766"/>
                <a:gd name="connsiteX69" fmla="*/ 207570 w 327509"/>
                <a:gd name="connsiteY69" fmla="*/ 22838 h 227766"/>
                <a:gd name="connsiteX70" fmla="*/ 202811 w 327509"/>
                <a:gd name="connsiteY70" fmla="*/ 22838 h 227766"/>
                <a:gd name="connsiteX71" fmla="*/ 192340 w 327509"/>
                <a:gd name="connsiteY71" fmla="*/ 23789 h 227766"/>
                <a:gd name="connsiteX72" fmla="*/ 176158 w 327509"/>
                <a:gd name="connsiteY72" fmla="*/ 28547 h 227766"/>
                <a:gd name="connsiteX73" fmla="*/ 177110 w 327509"/>
                <a:gd name="connsiteY73" fmla="*/ 28547 h 227766"/>
                <a:gd name="connsiteX74" fmla="*/ 159024 w 327509"/>
                <a:gd name="connsiteY74" fmla="*/ 28547 h 227766"/>
                <a:gd name="connsiteX75" fmla="*/ 102861 w 327509"/>
                <a:gd name="connsiteY75" fmla="*/ 37111 h 227766"/>
                <a:gd name="connsiteX76" fmla="*/ 106669 w 327509"/>
                <a:gd name="connsiteY76" fmla="*/ 38063 h 227766"/>
                <a:gd name="connsiteX77" fmla="*/ 76208 w 327509"/>
                <a:gd name="connsiteY77" fmla="*/ 39966 h 227766"/>
                <a:gd name="connsiteX78" fmla="*/ 71449 w 327509"/>
                <a:gd name="connsiteY78" fmla="*/ 39014 h 227766"/>
                <a:gd name="connsiteX79" fmla="*/ 67641 w 327509"/>
                <a:gd name="connsiteY79" fmla="*/ 39966 h 227766"/>
                <a:gd name="connsiteX80" fmla="*/ 66689 w 327509"/>
                <a:gd name="connsiteY80" fmla="*/ 39014 h 227766"/>
                <a:gd name="connsiteX81" fmla="*/ 58122 w 327509"/>
                <a:gd name="connsiteY81" fmla="*/ 39014 h 227766"/>
                <a:gd name="connsiteX82" fmla="*/ 55266 w 327509"/>
                <a:gd name="connsiteY82" fmla="*/ 39966 h 227766"/>
                <a:gd name="connsiteX83" fmla="*/ 51459 w 327509"/>
                <a:gd name="connsiteY83" fmla="*/ 39014 h 227766"/>
                <a:gd name="connsiteX84" fmla="*/ 51459 w 327509"/>
                <a:gd name="connsiteY84" fmla="*/ 39014 h 227766"/>
                <a:gd name="connsiteX85" fmla="*/ 49555 w 327509"/>
                <a:gd name="connsiteY85" fmla="*/ 39014 h 227766"/>
                <a:gd name="connsiteX86" fmla="*/ 35277 w 327509"/>
                <a:gd name="connsiteY86" fmla="*/ 45675 h 227766"/>
                <a:gd name="connsiteX87" fmla="*/ 34325 w 327509"/>
                <a:gd name="connsiteY87" fmla="*/ 45675 h 227766"/>
                <a:gd name="connsiteX88" fmla="*/ 32421 w 327509"/>
                <a:gd name="connsiteY88" fmla="*/ 47578 h 227766"/>
                <a:gd name="connsiteX89" fmla="*/ 30517 w 327509"/>
                <a:gd name="connsiteY89" fmla="*/ 47578 h 227766"/>
                <a:gd name="connsiteX90" fmla="*/ 30517 w 327509"/>
                <a:gd name="connsiteY90" fmla="*/ 47578 h 227766"/>
                <a:gd name="connsiteX91" fmla="*/ 28613 w 327509"/>
                <a:gd name="connsiteY91" fmla="*/ 47578 h 227766"/>
                <a:gd name="connsiteX92" fmla="*/ 28613 w 327509"/>
                <a:gd name="connsiteY92" fmla="*/ 46627 h 227766"/>
                <a:gd name="connsiteX93" fmla="*/ 24806 w 327509"/>
                <a:gd name="connsiteY93" fmla="*/ 47578 h 227766"/>
                <a:gd name="connsiteX94" fmla="*/ 37180 w 327509"/>
                <a:gd name="connsiteY94" fmla="*/ 49482 h 227766"/>
                <a:gd name="connsiteX95" fmla="*/ 31469 w 327509"/>
                <a:gd name="connsiteY95" fmla="*/ 50433 h 227766"/>
                <a:gd name="connsiteX96" fmla="*/ 21950 w 327509"/>
                <a:gd name="connsiteY96" fmla="*/ 49482 h 227766"/>
                <a:gd name="connsiteX97" fmla="*/ 19094 w 327509"/>
                <a:gd name="connsiteY97" fmla="*/ 50433 h 227766"/>
                <a:gd name="connsiteX98" fmla="*/ 16239 w 327509"/>
                <a:gd name="connsiteY98" fmla="*/ 50433 h 227766"/>
                <a:gd name="connsiteX99" fmla="*/ 20998 w 327509"/>
                <a:gd name="connsiteY99" fmla="*/ 49482 h 227766"/>
                <a:gd name="connsiteX100" fmla="*/ 16239 w 327509"/>
                <a:gd name="connsiteY100" fmla="*/ 48530 h 227766"/>
                <a:gd name="connsiteX101" fmla="*/ 10527 w 327509"/>
                <a:gd name="connsiteY101" fmla="*/ 49482 h 227766"/>
                <a:gd name="connsiteX102" fmla="*/ 7672 w 327509"/>
                <a:gd name="connsiteY102" fmla="*/ 48530 h 227766"/>
                <a:gd name="connsiteX103" fmla="*/ 5768 w 327509"/>
                <a:gd name="connsiteY103" fmla="*/ 49482 h 227766"/>
                <a:gd name="connsiteX104" fmla="*/ 9575 w 327509"/>
                <a:gd name="connsiteY104" fmla="*/ 51385 h 227766"/>
                <a:gd name="connsiteX105" fmla="*/ 4816 w 327509"/>
                <a:gd name="connsiteY105" fmla="*/ 51385 h 227766"/>
                <a:gd name="connsiteX106" fmla="*/ 4816 w 327509"/>
                <a:gd name="connsiteY106" fmla="*/ 52336 h 227766"/>
                <a:gd name="connsiteX107" fmla="*/ 1008 w 327509"/>
                <a:gd name="connsiteY107" fmla="*/ 52336 h 227766"/>
                <a:gd name="connsiteX108" fmla="*/ 1960 w 327509"/>
                <a:gd name="connsiteY108" fmla="*/ 52336 h 227766"/>
                <a:gd name="connsiteX109" fmla="*/ 9575 w 327509"/>
                <a:gd name="connsiteY109" fmla="*/ 47578 h 227766"/>
                <a:gd name="connsiteX110" fmla="*/ 56 w 327509"/>
                <a:gd name="connsiteY110" fmla="*/ 52336 h 227766"/>
                <a:gd name="connsiteX111" fmla="*/ 1008 w 327509"/>
                <a:gd name="connsiteY111" fmla="*/ 54239 h 227766"/>
                <a:gd name="connsiteX112" fmla="*/ 1960 w 327509"/>
                <a:gd name="connsiteY112" fmla="*/ 53288 h 227766"/>
                <a:gd name="connsiteX113" fmla="*/ 3864 w 327509"/>
                <a:gd name="connsiteY113" fmla="*/ 55191 h 227766"/>
                <a:gd name="connsiteX114" fmla="*/ 9575 w 327509"/>
                <a:gd name="connsiteY114" fmla="*/ 50433 h 227766"/>
                <a:gd name="connsiteX115" fmla="*/ 10527 w 327509"/>
                <a:gd name="connsiteY115" fmla="*/ 50433 h 227766"/>
                <a:gd name="connsiteX116" fmla="*/ 5768 w 327509"/>
                <a:gd name="connsiteY116" fmla="*/ 51385 h 227766"/>
                <a:gd name="connsiteX117" fmla="*/ 2912 w 327509"/>
                <a:gd name="connsiteY117" fmla="*/ 53288 h 227766"/>
                <a:gd name="connsiteX118" fmla="*/ 2912 w 327509"/>
                <a:gd name="connsiteY118" fmla="*/ 53288 h 227766"/>
                <a:gd name="connsiteX119" fmla="*/ 1008 w 327509"/>
                <a:gd name="connsiteY119" fmla="*/ 54239 h 227766"/>
                <a:gd name="connsiteX120" fmla="*/ 3864 w 327509"/>
                <a:gd name="connsiteY120" fmla="*/ 61852 h 227766"/>
                <a:gd name="connsiteX121" fmla="*/ 7672 w 327509"/>
                <a:gd name="connsiteY121" fmla="*/ 59949 h 227766"/>
                <a:gd name="connsiteX122" fmla="*/ 11479 w 327509"/>
                <a:gd name="connsiteY122" fmla="*/ 61852 h 227766"/>
                <a:gd name="connsiteX123" fmla="*/ 12431 w 327509"/>
                <a:gd name="connsiteY123" fmla="*/ 60900 h 227766"/>
                <a:gd name="connsiteX124" fmla="*/ 15287 w 327509"/>
                <a:gd name="connsiteY124" fmla="*/ 61852 h 227766"/>
                <a:gd name="connsiteX125" fmla="*/ 19094 w 327509"/>
                <a:gd name="connsiteY125" fmla="*/ 61852 h 227766"/>
                <a:gd name="connsiteX126" fmla="*/ 20046 w 327509"/>
                <a:gd name="connsiteY126" fmla="*/ 60900 h 227766"/>
                <a:gd name="connsiteX127" fmla="*/ 27661 w 327509"/>
                <a:gd name="connsiteY127" fmla="*/ 60900 h 227766"/>
                <a:gd name="connsiteX128" fmla="*/ 29565 w 327509"/>
                <a:gd name="connsiteY128" fmla="*/ 63755 h 227766"/>
                <a:gd name="connsiteX129" fmla="*/ 26709 w 327509"/>
                <a:gd name="connsiteY129" fmla="*/ 61852 h 227766"/>
                <a:gd name="connsiteX130" fmla="*/ 22902 w 327509"/>
                <a:gd name="connsiteY130" fmla="*/ 63755 h 227766"/>
                <a:gd name="connsiteX131" fmla="*/ 28613 w 327509"/>
                <a:gd name="connsiteY131" fmla="*/ 63755 h 227766"/>
                <a:gd name="connsiteX132" fmla="*/ 28613 w 327509"/>
                <a:gd name="connsiteY132" fmla="*/ 63755 h 227766"/>
                <a:gd name="connsiteX133" fmla="*/ 35277 w 327509"/>
                <a:gd name="connsiteY133" fmla="*/ 63755 h 227766"/>
                <a:gd name="connsiteX134" fmla="*/ 34325 w 327509"/>
                <a:gd name="connsiteY134" fmla="*/ 64707 h 227766"/>
                <a:gd name="connsiteX135" fmla="*/ 37180 w 327509"/>
                <a:gd name="connsiteY135" fmla="*/ 64707 h 227766"/>
                <a:gd name="connsiteX136" fmla="*/ 37180 w 327509"/>
                <a:gd name="connsiteY136" fmla="*/ 63755 h 227766"/>
                <a:gd name="connsiteX137" fmla="*/ 40036 w 327509"/>
                <a:gd name="connsiteY137" fmla="*/ 63755 h 227766"/>
                <a:gd name="connsiteX138" fmla="*/ 52411 w 327509"/>
                <a:gd name="connsiteY138" fmla="*/ 59949 h 227766"/>
                <a:gd name="connsiteX139" fmla="*/ 56218 w 327509"/>
                <a:gd name="connsiteY139" fmla="*/ 59949 h 227766"/>
                <a:gd name="connsiteX140" fmla="*/ 42892 w 327509"/>
                <a:gd name="connsiteY140" fmla="*/ 63755 h 227766"/>
                <a:gd name="connsiteX141" fmla="*/ 62882 w 327509"/>
                <a:gd name="connsiteY141" fmla="*/ 58997 h 227766"/>
                <a:gd name="connsiteX142" fmla="*/ 64785 w 327509"/>
                <a:gd name="connsiteY142" fmla="*/ 58046 h 227766"/>
                <a:gd name="connsiteX143" fmla="*/ 65737 w 327509"/>
                <a:gd name="connsiteY143" fmla="*/ 59949 h 227766"/>
                <a:gd name="connsiteX144" fmla="*/ 65737 w 327509"/>
                <a:gd name="connsiteY144" fmla="*/ 59949 h 227766"/>
                <a:gd name="connsiteX145" fmla="*/ 67641 w 327509"/>
                <a:gd name="connsiteY145" fmla="*/ 60900 h 227766"/>
                <a:gd name="connsiteX146" fmla="*/ 79064 w 327509"/>
                <a:gd name="connsiteY146" fmla="*/ 58046 h 227766"/>
                <a:gd name="connsiteX147" fmla="*/ 75256 w 327509"/>
                <a:gd name="connsiteY147" fmla="*/ 60900 h 227766"/>
                <a:gd name="connsiteX148" fmla="*/ 75256 w 327509"/>
                <a:gd name="connsiteY148" fmla="*/ 60900 h 227766"/>
                <a:gd name="connsiteX149" fmla="*/ 73353 w 327509"/>
                <a:gd name="connsiteY149" fmla="*/ 61852 h 227766"/>
                <a:gd name="connsiteX150" fmla="*/ 79064 w 327509"/>
                <a:gd name="connsiteY150" fmla="*/ 60900 h 227766"/>
                <a:gd name="connsiteX151" fmla="*/ 80016 w 327509"/>
                <a:gd name="connsiteY151" fmla="*/ 60900 h 227766"/>
                <a:gd name="connsiteX152" fmla="*/ 80016 w 327509"/>
                <a:gd name="connsiteY152" fmla="*/ 60900 h 227766"/>
                <a:gd name="connsiteX153" fmla="*/ 80968 w 327509"/>
                <a:gd name="connsiteY153" fmla="*/ 61852 h 227766"/>
                <a:gd name="connsiteX154" fmla="*/ 80968 w 327509"/>
                <a:gd name="connsiteY154" fmla="*/ 61852 h 227766"/>
                <a:gd name="connsiteX155" fmla="*/ 93342 w 327509"/>
                <a:gd name="connsiteY155" fmla="*/ 59949 h 227766"/>
                <a:gd name="connsiteX156" fmla="*/ 94294 w 327509"/>
                <a:gd name="connsiteY156" fmla="*/ 58997 h 227766"/>
                <a:gd name="connsiteX157" fmla="*/ 105717 w 327509"/>
                <a:gd name="connsiteY157" fmla="*/ 58997 h 227766"/>
                <a:gd name="connsiteX158" fmla="*/ 104765 w 327509"/>
                <a:gd name="connsiteY158" fmla="*/ 57094 h 227766"/>
                <a:gd name="connsiteX159" fmla="*/ 107621 w 327509"/>
                <a:gd name="connsiteY159" fmla="*/ 57094 h 227766"/>
                <a:gd name="connsiteX160" fmla="*/ 111429 w 327509"/>
                <a:gd name="connsiteY160" fmla="*/ 60900 h 227766"/>
                <a:gd name="connsiteX161" fmla="*/ 116188 w 327509"/>
                <a:gd name="connsiteY161" fmla="*/ 60900 h 227766"/>
                <a:gd name="connsiteX162" fmla="*/ 119044 w 327509"/>
                <a:gd name="connsiteY162" fmla="*/ 58997 h 227766"/>
                <a:gd name="connsiteX163" fmla="*/ 123803 w 327509"/>
                <a:gd name="connsiteY163" fmla="*/ 58997 h 227766"/>
                <a:gd name="connsiteX164" fmla="*/ 123803 w 327509"/>
                <a:gd name="connsiteY164" fmla="*/ 60900 h 227766"/>
                <a:gd name="connsiteX165" fmla="*/ 131418 w 327509"/>
                <a:gd name="connsiteY165" fmla="*/ 60900 h 227766"/>
                <a:gd name="connsiteX166" fmla="*/ 138082 w 327509"/>
                <a:gd name="connsiteY166" fmla="*/ 58046 h 227766"/>
                <a:gd name="connsiteX167" fmla="*/ 139034 w 327509"/>
                <a:gd name="connsiteY167" fmla="*/ 58997 h 227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</a:cxnLst>
              <a:rect l="l" t="t" r="r" b="b"/>
              <a:pathLst>
                <a:path w="327509" h="227766">
                  <a:moveTo>
                    <a:pt x="139034" y="58997"/>
                  </a:moveTo>
                  <a:lnTo>
                    <a:pt x="141889" y="58997"/>
                  </a:lnTo>
                  <a:cubicBezTo>
                    <a:pt x="133322" y="60900"/>
                    <a:pt x="124755" y="60900"/>
                    <a:pt x="116188" y="61852"/>
                  </a:cubicBezTo>
                  <a:cubicBezTo>
                    <a:pt x="135226" y="63755"/>
                    <a:pt x="158072" y="63755"/>
                    <a:pt x="170446" y="51385"/>
                  </a:cubicBezTo>
                  <a:cubicBezTo>
                    <a:pt x="173302" y="56143"/>
                    <a:pt x="191388" y="55191"/>
                    <a:pt x="191388" y="54239"/>
                  </a:cubicBezTo>
                  <a:cubicBezTo>
                    <a:pt x="195196" y="52336"/>
                    <a:pt x="199003" y="51385"/>
                    <a:pt x="201859" y="50433"/>
                  </a:cubicBezTo>
                  <a:cubicBezTo>
                    <a:pt x="199003" y="51385"/>
                    <a:pt x="197100" y="52336"/>
                    <a:pt x="194244" y="53288"/>
                  </a:cubicBezTo>
                  <a:cubicBezTo>
                    <a:pt x="197100" y="52336"/>
                    <a:pt x="199003" y="51385"/>
                    <a:pt x="201859" y="50433"/>
                  </a:cubicBezTo>
                  <a:cubicBezTo>
                    <a:pt x="204715" y="49482"/>
                    <a:pt x="207570" y="48530"/>
                    <a:pt x="210426" y="47578"/>
                  </a:cubicBezTo>
                  <a:cubicBezTo>
                    <a:pt x="213282" y="46627"/>
                    <a:pt x="217089" y="45675"/>
                    <a:pt x="218041" y="45675"/>
                  </a:cubicBezTo>
                  <a:cubicBezTo>
                    <a:pt x="219945" y="44724"/>
                    <a:pt x="222801" y="44724"/>
                    <a:pt x="224705" y="43772"/>
                  </a:cubicBezTo>
                  <a:cubicBezTo>
                    <a:pt x="228512" y="42821"/>
                    <a:pt x="231368" y="43772"/>
                    <a:pt x="231368" y="44724"/>
                  </a:cubicBezTo>
                  <a:lnTo>
                    <a:pt x="231368" y="44724"/>
                  </a:lnTo>
                  <a:cubicBezTo>
                    <a:pt x="231368" y="44724"/>
                    <a:pt x="232320" y="44724"/>
                    <a:pt x="230416" y="45675"/>
                  </a:cubicBezTo>
                  <a:cubicBezTo>
                    <a:pt x="228512" y="46627"/>
                    <a:pt x="227560" y="47578"/>
                    <a:pt x="225657" y="48530"/>
                  </a:cubicBezTo>
                  <a:cubicBezTo>
                    <a:pt x="222801" y="50433"/>
                    <a:pt x="220897" y="51385"/>
                    <a:pt x="219945" y="51385"/>
                  </a:cubicBezTo>
                  <a:lnTo>
                    <a:pt x="218993" y="51385"/>
                  </a:lnTo>
                  <a:cubicBezTo>
                    <a:pt x="219945" y="51385"/>
                    <a:pt x="219945" y="51385"/>
                    <a:pt x="219945" y="51385"/>
                  </a:cubicBezTo>
                  <a:cubicBezTo>
                    <a:pt x="220897" y="51385"/>
                    <a:pt x="220897" y="52336"/>
                    <a:pt x="220897" y="53288"/>
                  </a:cubicBezTo>
                  <a:lnTo>
                    <a:pt x="220897" y="53288"/>
                  </a:lnTo>
                  <a:lnTo>
                    <a:pt x="219945" y="54239"/>
                  </a:lnTo>
                  <a:lnTo>
                    <a:pt x="218041" y="56143"/>
                  </a:lnTo>
                  <a:cubicBezTo>
                    <a:pt x="216138" y="58046"/>
                    <a:pt x="215186" y="58997"/>
                    <a:pt x="213282" y="60900"/>
                  </a:cubicBezTo>
                  <a:cubicBezTo>
                    <a:pt x="215186" y="60900"/>
                    <a:pt x="215186" y="60900"/>
                    <a:pt x="218993" y="59949"/>
                  </a:cubicBezTo>
                  <a:lnTo>
                    <a:pt x="215186" y="61852"/>
                  </a:lnTo>
                  <a:cubicBezTo>
                    <a:pt x="213282" y="65658"/>
                    <a:pt x="206619" y="71368"/>
                    <a:pt x="203763" y="75174"/>
                  </a:cubicBezTo>
                  <a:cubicBezTo>
                    <a:pt x="203763" y="74222"/>
                    <a:pt x="200907" y="76126"/>
                    <a:pt x="199003" y="77077"/>
                  </a:cubicBezTo>
                  <a:lnTo>
                    <a:pt x="199955" y="77077"/>
                  </a:lnTo>
                  <a:cubicBezTo>
                    <a:pt x="191388" y="83738"/>
                    <a:pt x="181869" y="92302"/>
                    <a:pt x="174254" y="98011"/>
                  </a:cubicBezTo>
                  <a:cubicBezTo>
                    <a:pt x="173302" y="98963"/>
                    <a:pt x="172350" y="98963"/>
                    <a:pt x="171398" y="98963"/>
                  </a:cubicBezTo>
                  <a:lnTo>
                    <a:pt x="164735" y="105624"/>
                  </a:lnTo>
                  <a:cubicBezTo>
                    <a:pt x="164735" y="103721"/>
                    <a:pt x="158072" y="109430"/>
                    <a:pt x="160927" y="105624"/>
                  </a:cubicBezTo>
                  <a:cubicBezTo>
                    <a:pt x="156168" y="111334"/>
                    <a:pt x="150456" y="115140"/>
                    <a:pt x="146649" y="120849"/>
                  </a:cubicBezTo>
                  <a:cubicBezTo>
                    <a:pt x="127611" y="136074"/>
                    <a:pt x="108573" y="153203"/>
                    <a:pt x="91439" y="170331"/>
                  </a:cubicBezTo>
                  <a:lnTo>
                    <a:pt x="92391" y="170331"/>
                  </a:lnTo>
                  <a:cubicBezTo>
                    <a:pt x="86679" y="176992"/>
                    <a:pt x="81920" y="183653"/>
                    <a:pt x="73353" y="189362"/>
                  </a:cubicBezTo>
                  <a:cubicBezTo>
                    <a:pt x="68593" y="196023"/>
                    <a:pt x="60978" y="203636"/>
                    <a:pt x="60978" y="207442"/>
                  </a:cubicBezTo>
                  <a:cubicBezTo>
                    <a:pt x="54315" y="213151"/>
                    <a:pt x="52411" y="216958"/>
                    <a:pt x="46699" y="222667"/>
                  </a:cubicBezTo>
                  <a:cubicBezTo>
                    <a:pt x="49555" y="222667"/>
                    <a:pt x="41940" y="229328"/>
                    <a:pt x="45747" y="227425"/>
                  </a:cubicBezTo>
                  <a:cubicBezTo>
                    <a:pt x="51459" y="225522"/>
                    <a:pt x="50507" y="223619"/>
                    <a:pt x="55266" y="221715"/>
                  </a:cubicBezTo>
                  <a:lnTo>
                    <a:pt x="55266" y="221715"/>
                  </a:lnTo>
                  <a:cubicBezTo>
                    <a:pt x="74304" y="209345"/>
                    <a:pt x="92391" y="196023"/>
                    <a:pt x="110477" y="182701"/>
                  </a:cubicBezTo>
                  <a:cubicBezTo>
                    <a:pt x="121899" y="172234"/>
                    <a:pt x="135226" y="162718"/>
                    <a:pt x="146649" y="152251"/>
                  </a:cubicBezTo>
                  <a:cubicBezTo>
                    <a:pt x="159024" y="140832"/>
                    <a:pt x="173302" y="128462"/>
                    <a:pt x="183773" y="118946"/>
                  </a:cubicBezTo>
                  <a:cubicBezTo>
                    <a:pt x="186629" y="116091"/>
                    <a:pt x="188532" y="116091"/>
                    <a:pt x="191388" y="114188"/>
                  </a:cubicBezTo>
                  <a:cubicBezTo>
                    <a:pt x="200907" y="105624"/>
                    <a:pt x="215186" y="95157"/>
                    <a:pt x="226608" y="84690"/>
                  </a:cubicBezTo>
                  <a:cubicBezTo>
                    <a:pt x="226608" y="84690"/>
                    <a:pt x="226608" y="84690"/>
                    <a:pt x="225657" y="84690"/>
                  </a:cubicBezTo>
                  <a:cubicBezTo>
                    <a:pt x="228512" y="81835"/>
                    <a:pt x="231368" y="79932"/>
                    <a:pt x="234224" y="78029"/>
                  </a:cubicBezTo>
                  <a:lnTo>
                    <a:pt x="238983" y="75174"/>
                  </a:lnTo>
                  <a:lnTo>
                    <a:pt x="240887" y="73271"/>
                  </a:lnTo>
                  <a:cubicBezTo>
                    <a:pt x="241839" y="72319"/>
                    <a:pt x="243743" y="71368"/>
                    <a:pt x="244695" y="70416"/>
                  </a:cubicBezTo>
                  <a:cubicBezTo>
                    <a:pt x="244695" y="70416"/>
                    <a:pt x="245646" y="68513"/>
                    <a:pt x="246598" y="68513"/>
                  </a:cubicBezTo>
                  <a:cubicBezTo>
                    <a:pt x="248502" y="68513"/>
                    <a:pt x="262781" y="55191"/>
                    <a:pt x="275155" y="43772"/>
                  </a:cubicBezTo>
                  <a:cubicBezTo>
                    <a:pt x="287530" y="32353"/>
                    <a:pt x="297049" y="22838"/>
                    <a:pt x="300857" y="20934"/>
                  </a:cubicBezTo>
                  <a:lnTo>
                    <a:pt x="302760" y="19031"/>
                  </a:lnTo>
                  <a:cubicBezTo>
                    <a:pt x="308472" y="15225"/>
                    <a:pt x="314183" y="10467"/>
                    <a:pt x="320847" y="5709"/>
                  </a:cubicBezTo>
                  <a:lnTo>
                    <a:pt x="325606" y="1903"/>
                  </a:lnTo>
                  <a:lnTo>
                    <a:pt x="326558" y="951"/>
                  </a:lnTo>
                  <a:lnTo>
                    <a:pt x="327510" y="0"/>
                  </a:lnTo>
                  <a:lnTo>
                    <a:pt x="325606" y="0"/>
                  </a:lnTo>
                  <a:cubicBezTo>
                    <a:pt x="323702" y="0"/>
                    <a:pt x="320847" y="0"/>
                    <a:pt x="318943" y="0"/>
                  </a:cubicBezTo>
                  <a:cubicBezTo>
                    <a:pt x="309424" y="951"/>
                    <a:pt x="298001" y="1903"/>
                    <a:pt x="285626" y="3806"/>
                  </a:cubicBezTo>
                  <a:cubicBezTo>
                    <a:pt x="278963" y="5709"/>
                    <a:pt x="271348" y="7612"/>
                    <a:pt x="265636" y="10467"/>
                  </a:cubicBezTo>
                  <a:cubicBezTo>
                    <a:pt x="262781" y="10467"/>
                    <a:pt x="259925" y="12370"/>
                    <a:pt x="255165" y="13322"/>
                  </a:cubicBezTo>
                  <a:cubicBezTo>
                    <a:pt x="251358" y="11419"/>
                    <a:pt x="246598" y="12370"/>
                    <a:pt x="244695" y="12370"/>
                  </a:cubicBezTo>
                  <a:cubicBezTo>
                    <a:pt x="241839" y="13322"/>
                    <a:pt x="240887" y="14274"/>
                    <a:pt x="243743" y="14274"/>
                  </a:cubicBezTo>
                  <a:cubicBezTo>
                    <a:pt x="233272" y="17128"/>
                    <a:pt x="224705" y="18080"/>
                    <a:pt x="216138" y="19983"/>
                  </a:cubicBezTo>
                  <a:lnTo>
                    <a:pt x="213282" y="20934"/>
                  </a:lnTo>
                  <a:lnTo>
                    <a:pt x="211378" y="21886"/>
                  </a:lnTo>
                  <a:cubicBezTo>
                    <a:pt x="210426" y="21886"/>
                    <a:pt x="208522" y="22838"/>
                    <a:pt x="207570" y="22838"/>
                  </a:cubicBezTo>
                  <a:cubicBezTo>
                    <a:pt x="205667" y="23789"/>
                    <a:pt x="203763" y="22838"/>
                    <a:pt x="202811" y="22838"/>
                  </a:cubicBezTo>
                  <a:cubicBezTo>
                    <a:pt x="197100" y="24741"/>
                    <a:pt x="199003" y="22838"/>
                    <a:pt x="192340" y="23789"/>
                  </a:cubicBezTo>
                  <a:cubicBezTo>
                    <a:pt x="190436" y="22838"/>
                    <a:pt x="178062" y="28547"/>
                    <a:pt x="176158" y="28547"/>
                  </a:cubicBezTo>
                  <a:lnTo>
                    <a:pt x="177110" y="28547"/>
                  </a:lnTo>
                  <a:cubicBezTo>
                    <a:pt x="170446" y="29499"/>
                    <a:pt x="165687" y="27595"/>
                    <a:pt x="159024" y="28547"/>
                  </a:cubicBezTo>
                  <a:cubicBezTo>
                    <a:pt x="139986" y="30450"/>
                    <a:pt x="119996" y="35208"/>
                    <a:pt x="102861" y="37111"/>
                  </a:cubicBezTo>
                  <a:cubicBezTo>
                    <a:pt x="102861" y="39014"/>
                    <a:pt x="106669" y="36160"/>
                    <a:pt x="106669" y="38063"/>
                  </a:cubicBezTo>
                  <a:cubicBezTo>
                    <a:pt x="96198" y="39014"/>
                    <a:pt x="85727" y="39014"/>
                    <a:pt x="76208" y="39966"/>
                  </a:cubicBezTo>
                  <a:cubicBezTo>
                    <a:pt x="74304" y="39966"/>
                    <a:pt x="72401" y="39014"/>
                    <a:pt x="71449" y="39014"/>
                  </a:cubicBezTo>
                  <a:cubicBezTo>
                    <a:pt x="68593" y="39014"/>
                    <a:pt x="69545" y="39966"/>
                    <a:pt x="67641" y="39966"/>
                  </a:cubicBezTo>
                  <a:lnTo>
                    <a:pt x="66689" y="39014"/>
                  </a:lnTo>
                  <a:cubicBezTo>
                    <a:pt x="62882" y="40917"/>
                    <a:pt x="60978" y="38063"/>
                    <a:pt x="58122" y="39014"/>
                  </a:cubicBezTo>
                  <a:cubicBezTo>
                    <a:pt x="58122" y="39966"/>
                    <a:pt x="57170" y="39966"/>
                    <a:pt x="55266" y="39966"/>
                  </a:cubicBezTo>
                  <a:cubicBezTo>
                    <a:pt x="55266" y="39014"/>
                    <a:pt x="51459" y="40917"/>
                    <a:pt x="51459" y="39014"/>
                  </a:cubicBezTo>
                  <a:lnTo>
                    <a:pt x="51459" y="39014"/>
                  </a:lnTo>
                  <a:cubicBezTo>
                    <a:pt x="50507" y="39014"/>
                    <a:pt x="50507" y="39014"/>
                    <a:pt x="49555" y="39014"/>
                  </a:cubicBezTo>
                  <a:cubicBezTo>
                    <a:pt x="48603" y="39966"/>
                    <a:pt x="36228" y="44724"/>
                    <a:pt x="35277" y="45675"/>
                  </a:cubicBezTo>
                  <a:lnTo>
                    <a:pt x="34325" y="45675"/>
                  </a:lnTo>
                  <a:cubicBezTo>
                    <a:pt x="32421" y="45675"/>
                    <a:pt x="31469" y="46627"/>
                    <a:pt x="32421" y="47578"/>
                  </a:cubicBezTo>
                  <a:lnTo>
                    <a:pt x="30517" y="47578"/>
                  </a:lnTo>
                  <a:lnTo>
                    <a:pt x="30517" y="47578"/>
                  </a:lnTo>
                  <a:lnTo>
                    <a:pt x="28613" y="47578"/>
                  </a:lnTo>
                  <a:cubicBezTo>
                    <a:pt x="28613" y="47578"/>
                    <a:pt x="27661" y="46627"/>
                    <a:pt x="28613" y="46627"/>
                  </a:cubicBezTo>
                  <a:cubicBezTo>
                    <a:pt x="27661" y="47578"/>
                    <a:pt x="25758" y="47578"/>
                    <a:pt x="24806" y="47578"/>
                  </a:cubicBezTo>
                  <a:cubicBezTo>
                    <a:pt x="28613" y="48530"/>
                    <a:pt x="33373" y="48530"/>
                    <a:pt x="37180" y="49482"/>
                  </a:cubicBezTo>
                  <a:cubicBezTo>
                    <a:pt x="35277" y="50433"/>
                    <a:pt x="32421" y="49482"/>
                    <a:pt x="31469" y="50433"/>
                  </a:cubicBezTo>
                  <a:cubicBezTo>
                    <a:pt x="29565" y="49482"/>
                    <a:pt x="24806" y="49482"/>
                    <a:pt x="21950" y="49482"/>
                  </a:cubicBezTo>
                  <a:cubicBezTo>
                    <a:pt x="20998" y="49482"/>
                    <a:pt x="20998" y="51385"/>
                    <a:pt x="19094" y="50433"/>
                  </a:cubicBezTo>
                  <a:cubicBezTo>
                    <a:pt x="18142" y="49482"/>
                    <a:pt x="17191" y="50433"/>
                    <a:pt x="16239" y="50433"/>
                  </a:cubicBezTo>
                  <a:cubicBezTo>
                    <a:pt x="18142" y="49482"/>
                    <a:pt x="19094" y="49482"/>
                    <a:pt x="20998" y="49482"/>
                  </a:cubicBezTo>
                  <a:cubicBezTo>
                    <a:pt x="20998" y="48530"/>
                    <a:pt x="17191" y="48530"/>
                    <a:pt x="16239" y="48530"/>
                  </a:cubicBezTo>
                  <a:cubicBezTo>
                    <a:pt x="15287" y="48530"/>
                    <a:pt x="12431" y="48530"/>
                    <a:pt x="10527" y="49482"/>
                  </a:cubicBezTo>
                  <a:cubicBezTo>
                    <a:pt x="11479" y="48530"/>
                    <a:pt x="8623" y="48530"/>
                    <a:pt x="7672" y="48530"/>
                  </a:cubicBezTo>
                  <a:cubicBezTo>
                    <a:pt x="6720" y="48530"/>
                    <a:pt x="5768" y="49482"/>
                    <a:pt x="5768" y="49482"/>
                  </a:cubicBezTo>
                  <a:cubicBezTo>
                    <a:pt x="5768" y="50433"/>
                    <a:pt x="10527" y="49482"/>
                    <a:pt x="9575" y="51385"/>
                  </a:cubicBezTo>
                  <a:cubicBezTo>
                    <a:pt x="8623" y="50433"/>
                    <a:pt x="6720" y="51385"/>
                    <a:pt x="4816" y="51385"/>
                  </a:cubicBezTo>
                  <a:cubicBezTo>
                    <a:pt x="4816" y="52336"/>
                    <a:pt x="5768" y="52336"/>
                    <a:pt x="4816" y="52336"/>
                  </a:cubicBezTo>
                  <a:cubicBezTo>
                    <a:pt x="2912" y="52336"/>
                    <a:pt x="1960" y="53288"/>
                    <a:pt x="1008" y="52336"/>
                  </a:cubicBezTo>
                  <a:lnTo>
                    <a:pt x="1960" y="52336"/>
                  </a:lnTo>
                  <a:cubicBezTo>
                    <a:pt x="56" y="52336"/>
                    <a:pt x="12431" y="46627"/>
                    <a:pt x="9575" y="47578"/>
                  </a:cubicBezTo>
                  <a:cubicBezTo>
                    <a:pt x="10527" y="48530"/>
                    <a:pt x="-896" y="53288"/>
                    <a:pt x="56" y="52336"/>
                  </a:cubicBezTo>
                  <a:cubicBezTo>
                    <a:pt x="1008" y="52336"/>
                    <a:pt x="-896" y="53288"/>
                    <a:pt x="1008" y="54239"/>
                  </a:cubicBezTo>
                  <a:lnTo>
                    <a:pt x="1960" y="53288"/>
                  </a:lnTo>
                  <a:cubicBezTo>
                    <a:pt x="3864" y="53288"/>
                    <a:pt x="4816" y="54239"/>
                    <a:pt x="3864" y="55191"/>
                  </a:cubicBezTo>
                  <a:cubicBezTo>
                    <a:pt x="1008" y="55191"/>
                    <a:pt x="11479" y="49482"/>
                    <a:pt x="9575" y="50433"/>
                  </a:cubicBezTo>
                  <a:lnTo>
                    <a:pt x="10527" y="50433"/>
                  </a:lnTo>
                  <a:cubicBezTo>
                    <a:pt x="9575" y="51385"/>
                    <a:pt x="6720" y="51385"/>
                    <a:pt x="5768" y="51385"/>
                  </a:cubicBezTo>
                  <a:cubicBezTo>
                    <a:pt x="5768" y="52336"/>
                    <a:pt x="4816" y="52336"/>
                    <a:pt x="2912" y="53288"/>
                  </a:cubicBezTo>
                  <a:lnTo>
                    <a:pt x="2912" y="53288"/>
                  </a:lnTo>
                  <a:cubicBezTo>
                    <a:pt x="1960" y="53288"/>
                    <a:pt x="56" y="53288"/>
                    <a:pt x="1008" y="54239"/>
                  </a:cubicBezTo>
                  <a:cubicBezTo>
                    <a:pt x="7672" y="53288"/>
                    <a:pt x="-2799" y="61852"/>
                    <a:pt x="3864" y="61852"/>
                  </a:cubicBezTo>
                  <a:cubicBezTo>
                    <a:pt x="1008" y="60900"/>
                    <a:pt x="4816" y="59949"/>
                    <a:pt x="7672" y="59949"/>
                  </a:cubicBezTo>
                  <a:cubicBezTo>
                    <a:pt x="7672" y="60900"/>
                    <a:pt x="9575" y="60900"/>
                    <a:pt x="11479" y="61852"/>
                  </a:cubicBezTo>
                  <a:cubicBezTo>
                    <a:pt x="13383" y="61852"/>
                    <a:pt x="12431" y="60900"/>
                    <a:pt x="12431" y="60900"/>
                  </a:cubicBezTo>
                  <a:cubicBezTo>
                    <a:pt x="13383" y="60900"/>
                    <a:pt x="15287" y="60900"/>
                    <a:pt x="15287" y="61852"/>
                  </a:cubicBezTo>
                  <a:cubicBezTo>
                    <a:pt x="16239" y="60900"/>
                    <a:pt x="17191" y="61852"/>
                    <a:pt x="19094" y="61852"/>
                  </a:cubicBezTo>
                  <a:cubicBezTo>
                    <a:pt x="20998" y="60900"/>
                    <a:pt x="19094" y="61852"/>
                    <a:pt x="20046" y="60900"/>
                  </a:cubicBezTo>
                  <a:cubicBezTo>
                    <a:pt x="21950" y="60900"/>
                    <a:pt x="25758" y="60900"/>
                    <a:pt x="27661" y="60900"/>
                  </a:cubicBezTo>
                  <a:cubicBezTo>
                    <a:pt x="28613" y="61852"/>
                    <a:pt x="30517" y="62803"/>
                    <a:pt x="29565" y="63755"/>
                  </a:cubicBezTo>
                  <a:cubicBezTo>
                    <a:pt x="25758" y="63755"/>
                    <a:pt x="30517" y="61852"/>
                    <a:pt x="26709" y="61852"/>
                  </a:cubicBezTo>
                  <a:cubicBezTo>
                    <a:pt x="28613" y="63755"/>
                    <a:pt x="23854" y="62803"/>
                    <a:pt x="22902" y="63755"/>
                  </a:cubicBezTo>
                  <a:cubicBezTo>
                    <a:pt x="23854" y="64707"/>
                    <a:pt x="26709" y="63755"/>
                    <a:pt x="28613" y="63755"/>
                  </a:cubicBezTo>
                  <a:lnTo>
                    <a:pt x="28613" y="63755"/>
                  </a:lnTo>
                  <a:cubicBezTo>
                    <a:pt x="30517" y="63755"/>
                    <a:pt x="33373" y="62803"/>
                    <a:pt x="35277" y="63755"/>
                  </a:cubicBezTo>
                  <a:cubicBezTo>
                    <a:pt x="35277" y="64707"/>
                    <a:pt x="36228" y="64707"/>
                    <a:pt x="34325" y="64707"/>
                  </a:cubicBezTo>
                  <a:lnTo>
                    <a:pt x="37180" y="64707"/>
                  </a:lnTo>
                  <a:cubicBezTo>
                    <a:pt x="37180" y="64707"/>
                    <a:pt x="38132" y="64707"/>
                    <a:pt x="37180" y="63755"/>
                  </a:cubicBezTo>
                  <a:cubicBezTo>
                    <a:pt x="38132" y="62803"/>
                    <a:pt x="39084" y="63755"/>
                    <a:pt x="40036" y="63755"/>
                  </a:cubicBezTo>
                  <a:cubicBezTo>
                    <a:pt x="40036" y="64707"/>
                    <a:pt x="52411" y="58997"/>
                    <a:pt x="52411" y="59949"/>
                  </a:cubicBezTo>
                  <a:cubicBezTo>
                    <a:pt x="54315" y="59949"/>
                    <a:pt x="54315" y="60900"/>
                    <a:pt x="56218" y="59949"/>
                  </a:cubicBezTo>
                  <a:cubicBezTo>
                    <a:pt x="56218" y="58997"/>
                    <a:pt x="40036" y="63755"/>
                    <a:pt x="42892" y="63755"/>
                  </a:cubicBezTo>
                  <a:cubicBezTo>
                    <a:pt x="44796" y="64707"/>
                    <a:pt x="61930" y="58046"/>
                    <a:pt x="62882" y="58997"/>
                  </a:cubicBezTo>
                  <a:cubicBezTo>
                    <a:pt x="63834" y="58997"/>
                    <a:pt x="65737" y="58046"/>
                    <a:pt x="64785" y="58046"/>
                  </a:cubicBezTo>
                  <a:cubicBezTo>
                    <a:pt x="66689" y="58046"/>
                    <a:pt x="64785" y="58997"/>
                    <a:pt x="65737" y="59949"/>
                  </a:cubicBezTo>
                  <a:lnTo>
                    <a:pt x="65737" y="59949"/>
                  </a:lnTo>
                  <a:lnTo>
                    <a:pt x="67641" y="60900"/>
                  </a:lnTo>
                  <a:cubicBezTo>
                    <a:pt x="70497" y="58997"/>
                    <a:pt x="76208" y="59949"/>
                    <a:pt x="79064" y="58046"/>
                  </a:cubicBezTo>
                  <a:cubicBezTo>
                    <a:pt x="78112" y="58997"/>
                    <a:pt x="77160" y="59949"/>
                    <a:pt x="75256" y="60900"/>
                  </a:cubicBezTo>
                  <a:lnTo>
                    <a:pt x="75256" y="60900"/>
                  </a:lnTo>
                  <a:lnTo>
                    <a:pt x="73353" y="61852"/>
                  </a:lnTo>
                  <a:cubicBezTo>
                    <a:pt x="75256" y="61852"/>
                    <a:pt x="77160" y="61852"/>
                    <a:pt x="79064" y="60900"/>
                  </a:cubicBezTo>
                  <a:lnTo>
                    <a:pt x="80016" y="60900"/>
                  </a:lnTo>
                  <a:lnTo>
                    <a:pt x="80016" y="60900"/>
                  </a:lnTo>
                  <a:cubicBezTo>
                    <a:pt x="80968" y="60900"/>
                    <a:pt x="80968" y="60900"/>
                    <a:pt x="80968" y="61852"/>
                  </a:cubicBezTo>
                  <a:lnTo>
                    <a:pt x="80968" y="61852"/>
                  </a:lnTo>
                  <a:cubicBezTo>
                    <a:pt x="82872" y="63755"/>
                    <a:pt x="89535" y="58997"/>
                    <a:pt x="93342" y="59949"/>
                  </a:cubicBezTo>
                  <a:cubicBezTo>
                    <a:pt x="94294" y="59949"/>
                    <a:pt x="93342" y="59949"/>
                    <a:pt x="94294" y="58997"/>
                  </a:cubicBezTo>
                  <a:cubicBezTo>
                    <a:pt x="98102" y="58997"/>
                    <a:pt x="100958" y="58997"/>
                    <a:pt x="105717" y="58997"/>
                  </a:cubicBezTo>
                  <a:cubicBezTo>
                    <a:pt x="106669" y="58046"/>
                    <a:pt x="106669" y="58046"/>
                    <a:pt x="104765" y="57094"/>
                  </a:cubicBezTo>
                  <a:lnTo>
                    <a:pt x="107621" y="57094"/>
                  </a:lnTo>
                  <a:cubicBezTo>
                    <a:pt x="104765" y="59949"/>
                    <a:pt x="113332" y="58046"/>
                    <a:pt x="111429" y="60900"/>
                  </a:cubicBezTo>
                  <a:cubicBezTo>
                    <a:pt x="112380" y="60900"/>
                    <a:pt x="114284" y="60900"/>
                    <a:pt x="116188" y="60900"/>
                  </a:cubicBezTo>
                  <a:cubicBezTo>
                    <a:pt x="116188" y="59949"/>
                    <a:pt x="116188" y="58997"/>
                    <a:pt x="119044" y="58997"/>
                  </a:cubicBezTo>
                  <a:cubicBezTo>
                    <a:pt x="121899" y="58997"/>
                    <a:pt x="121899" y="58997"/>
                    <a:pt x="123803" y="58997"/>
                  </a:cubicBezTo>
                  <a:cubicBezTo>
                    <a:pt x="124755" y="59949"/>
                    <a:pt x="123803" y="59949"/>
                    <a:pt x="123803" y="60900"/>
                  </a:cubicBezTo>
                  <a:cubicBezTo>
                    <a:pt x="127611" y="58997"/>
                    <a:pt x="127611" y="61852"/>
                    <a:pt x="131418" y="60900"/>
                  </a:cubicBezTo>
                  <a:cubicBezTo>
                    <a:pt x="133322" y="59949"/>
                    <a:pt x="138082" y="59949"/>
                    <a:pt x="138082" y="58046"/>
                  </a:cubicBezTo>
                  <a:cubicBezTo>
                    <a:pt x="139034" y="57094"/>
                    <a:pt x="139034" y="58046"/>
                    <a:pt x="139034" y="58997"/>
                  </a:cubicBezTo>
                  <a:close/>
                </a:path>
              </a:pathLst>
            </a:custGeom>
            <a:solidFill>
              <a:srgbClr val="144573"/>
            </a:solidFill>
            <a:ln w="95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 sz="1800"/>
            </a:p>
          </p:txBody>
        </p:sp>
      </p:grpSp>
    </p:spTree>
    <p:extLst>
      <p:ext uri="{BB962C8B-B14F-4D97-AF65-F5344CB8AC3E}">
        <p14:creationId xmlns:p14="http://schemas.microsoft.com/office/powerpoint/2010/main" val="960521322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1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 descr="Et billede, der indeholder person, udendørs, bænk, sidder&#10;&#10;Automatisk genereret beskrivelse">
            <a:extLst>
              <a:ext uri="{FF2B5EF4-FFF2-40B4-BE49-F238E27FC236}">
                <a16:creationId xmlns:a16="http://schemas.microsoft.com/office/drawing/2014/main" id="{731A862E-C8E1-AF42-92F3-C4898253E15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E0728A4A-9392-3044-A1DB-26D65B235A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23" name="Titel 9">
            <a:extLst>
              <a:ext uri="{FF2B5EF4-FFF2-40B4-BE49-F238E27FC236}">
                <a16:creationId xmlns:a16="http://schemas.microsoft.com/office/drawing/2014/main" id="{F443A15A-C60D-A744-B381-2453017F91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26" name="Billede 25">
            <a:extLst>
              <a:ext uri="{FF2B5EF4-FFF2-40B4-BE49-F238E27FC236}">
                <a16:creationId xmlns:a16="http://schemas.microsoft.com/office/drawing/2014/main" id="{D00CBDA2-D83C-C64D-8FE0-E7AFC79E139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490223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2) Indhold - billedekollage med 6 bille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5609345" y="1831359"/>
            <a:ext cx="2796988" cy="2110551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914401" y="1831359"/>
            <a:ext cx="4646279" cy="2110551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3611496" y="3990572"/>
            <a:ext cx="4794838" cy="1849295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5" hasCustomPrompt="1"/>
          </p:nvPr>
        </p:nvSpPr>
        <p:spPr>
          <a:xfrm>
            <a:off x="8454999" y="1831359"/>
            <a:ext cx="2822600" cy="2110551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6" hasCustomPrompt="1"/>
          </p:nvPr>
        </p:nvSpPr>
        <p:spPr>
          <a:xfrm>
            <a:off x="914400" y="3990572"/>
            <a:ext cx="2635624" cy="1849295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8454999" y="3990572"/>
            <a:ext cx="2822600" cy="1849295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8E825661-551C-CB4A-BD64-F9F48E798F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262972"/>
            <a:ext cx="10363200" cy="198541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E2161DFB-9516-824E-931C-E348F1F9CB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432001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1039172107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2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 descr="Et billede, der indeholder indendørs, person, barn, sidder&#10;&#10;Automatisk genereret beskrivelse">
            <a:extLst>
              <a:ext uri="{FF2B5EF4-FFF2-40B4-BE49-F238E27FC236}">
                <a16:creationId xmlns:a16="http://schemas.microsoft.com/office/drawing/2014/main" id="{7FC025C4-3C51-2A45-9719-DDD2CC92ACD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62FB2E0C-BE4C-8B44-9153-E69F14E1281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D64F0D3D-51BD-EB4A-AF54-E0CD9509F3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579451263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3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lede 3" descr="Et billede, der indeholder paraply, person, tilbehør, opbevarer&#10;&#10;Automatisk genereret beskrivelse">
            <a:extLst>
              <a:ext uri="{FF2B5EF4-FFF2-40B4-BE49-F238E27FC236}">
                <a16:creationId xmlns:a16="http://schemas.microsoft.com/office/drawing/2014/main" id="{D11B5318-5D51-FF46-AFA4-AA3E8E7B22B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" y="0"/>
            <a:ext cx="12192003" cy="6858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9D436AAE-0CC0-2842-B97D-F213D08176B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C518AE99-3537-9048-8647-3EEBD70364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264221750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4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 descr="Et billede, der indeholder udendørs, græs, felt, får&#10;&#10;Automatisk genereret beskrivelse">
            <a:extLst>
              <a:ext uri="{FF2B5EF4-FFF2-40B4-BE49-F238E27FC236}">
                <a16:creationId xmlns:a16="http://schemas.microsoft.com/office/drawing/2014/main" id="{28037FDD-8966-5E47-91C2-1782A94194D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CC8B7C6-4DC1-5C4E-B62C-454EEB2BB56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F8D615CE-0B75-DA4C-B19A-F75CC578CB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134136552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5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lede 3" descr="Et billede, der indeholder udendørs, græs, bjerg, mad&#10;&#10;Automatisk genereret beskrivelse">
            <a:extLst>
              <a:ext uri="{FF2B5EF4-FFF2-40B4-BE49-F238E27FC236}">
                <a16:creationId xmlns:a16="http://schemas.microsoft.com/office/drawing/2014/main" id="{0EA045AA-3339-604F-8EB8-940992657D5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7E53EFFB-2725-DF45-91C3-4FEDAFF8E7A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F071EF88-57BE-7A41-922C-F13269FBA8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37677786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6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 descr="Et billede, der indeholder udendørs, bygning, hegn, by&#10;&#10;Automatisk genereret beskrivelse">
            <a:extLst>
              <a:ext uri="{FF2B5EF4-FFF2-40B4-BE49-F238E27FC236}">
                <a16:creationId xmlns:a16="http://schemas.microsoft.com/office/drawing/2014/main" id="{9605DD56-4AD4-7B47-96A1-120C1DF65E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1999" cy="6858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4BE94C62-970B-4746-BEEC-26579458ED5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7D4BF381-4455-B540-8DC5-812DBB345C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541220840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7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lede 3" descr="Et billede, der indeholder person, udendørs, bygning, forbereder&#10;&#10;Automatisk genereret beskrivelse">
            <a:extLst>
              <a:ext uri="{FF2B5EF4-FFF2-40B4-BE49-F238E27FC236}">
                <a16:creationId xmlns:a16="http://schemas.microsoft.com/office/drawing/2014/main" id="{40209235-55F1-C34E-9B18-45E743DAE7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BC0AD2C0-AC1A-A542-B630-A0A9A232BA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D545335C-C562-DA4D-AC43-5CCF4BE5D8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4056078147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8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 descr="Et billede, der indeholder person, indendørs, opbevarer, afspiller&#10;&#10;Automatisk genereret beskrivelse">
            <a:extLst>
              <a:ext uri="{FF2B5EF4-FFF2-40B4-BE49-F238E27FC236}">
                <a16:creationId xmlns:a16="http://schemas.microsoft.com/office/drawing/2014/main" id="{86A135C5-411F-3647-B5F8-69AF5E9E13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752459790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9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083" name="Picture 3" descr="D:\Opgaver\EDC Marts 2020\Powerpointskabelon\billeder\ppt_billede_det_handler_om_at_gøre_sig_umage_2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464971832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10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106" name="Picture 2" descr="D:\Opgaver\EDC Marts 2020\Powerpointskabelon\billeder\ppt_billede_drone_by_frederiksberg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" y="1"/>
            <a:ext cx="1219199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652997165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11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130" name="Picture 2" descr="D:\Opgaver\EDC Marts 2020\Powerpointskabelon\billeder\ppt_billede_par_renoverer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9680770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3) Indhold - billedekollage med 4 bille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5609345" y="1831359"/>
            <a:ext cx="2796988" cy="2110551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914401" y="1831358"/>
            <a:ext cx="4646279" cy="4008508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5" hasCustomPrompt="1"/>
          </p:nvPr>
        </p:nvSpPr>
        <p:spPr>
          <a:xfrm>
            <a:off x="8454999" y="1831359"/>
            <a:ext cx="2822600" cy="2110551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5609346" y="3990572"/>
            <a:ext cx="5668254" cy="1849295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D109ED05-355F-704F-8078-D8FBCB80CC2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262972"/>
            <a:ext cx="10363200" cy="198541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8ADA6362-6032-7B48-806D-EE79E20F90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432001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3395462854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12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154" name="Picture 2" descr="D:\Opgaver\EDC Marts 2020\Powerpointskabelon\billeder\ppt_billede_par_ud_af_vindue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12191999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87555162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13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178" name="Picture 2" descr="D:\Opgaver\EDC Marts 2020\Powerpointskabelon\billeder\ppt_billede_kvinde_i_lejlighed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12192001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633024605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14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02" name="Picture 2" descr="D:\Opgaver\EDC Marts 2020\Powerpointskabelon\billeder\ppt_billede_familie_i_sommerhus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838904192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15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226" name="Picture 2" descr="D:\Opgaver\EDC Marts 2020\Powerpointskabelon\billeder\ppt_billede_sommerhus_hoet_gras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293442720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16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274" name="Picture 2" descr="D:\Opgaver\EDC Marts 2020\Powerpointskabelon\billeder\ppt_billede_kvinde_i_lejlighed_med_te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595726363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17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298" name="Picture 2" descr="D:\Opgaver\EDC Marts 2020\Powerpointskabelon\billeder\ppt_billede_mand_ruller_taeppe_ud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" y="0"/>
            <a:ext cx="1219199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459055496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18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323" name="Picture 3" descr="D:\Opgaver\EDC Marts 2020\Powerpointskabelon\billeder\ppt_billede_aeldre_par_maler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" y="1"/>
            <a:ext cx="12191998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524213842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19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250" name="Picture 2" descr="D:\Opgaver\EDC Marts 2020\Powerpointskabelon\billeder\ppt_billede_familie_paa_fremvisning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" y="-1"/>
            <a:ext cx="12192001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617360117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20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led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60598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817911183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21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" y="0"/>
            <a:ext cx="12192004" cy="6860598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91345256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4) Indhold - venstrestillet billede til k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4D84763A-749E-DF4C-B99D-871E993C55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00800" y="2203444"/>
            <a:ext cx="4876800" cy="530755"/>
          </a:xfrm>
        </p:spPr>
        <p:txBody>
          <a:bodyPr wrap="non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B8FC78A-CE27-2940-BE8B-96410FE597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0800" y="467361"/>
            <a:ext cx="4876800" cy="15848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>
              <a:defRPr/>
            </a:lvl1pPr>
          </a:lstStyle>
          <a:p>
            <a:r>
              <a:rPr lang="da-DK" noProof="0"/>
              <a:t>Klik for at redigere overskrift</a:t>
            </a:r>
          </a:p>
        </p:txBody>
      </p:sp>
      <p:sp>
        <p:nvSpPr>
          <p:cNvPr id="11" name="Pladsholder til tekst 2">
            <a:extLst>
              <a:ext uri="{FF2B5EF4-FFF2-40B4-BE49-F238E27FC236}">
                <a16:creationId xmlns:a16="http://schemas.microsoft.com/office/drawing/2014/main" id="{B7C381B9-37D6-3045-BDBA-382AE79424D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00800" y="2955926"/>
            <a:ext cx="4876800" cy="320103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00"/>
            </a:lvl1pPr>
            <a:lvl3pPr marL="914423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A7226904-5333-1643-A028-C32C08635BC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187116"/>
            <a:ext cx="5450468" cy="6670883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2342101256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22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led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" y="0"/>
            <a:ext cx="12192004" cy="6860598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546495575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23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" y="0"/>
            <a:ext cx="12192004" cy="6860598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4278122510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24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31" y="0"/>
            <a:ext cx="12185335" cy="6860598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988993344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25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31" y="1"/>
            <a:ext cx="12185335" cy="6860597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881930666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26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30" y="1"/>
            <a:ext cx="12185334" cy="6860597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170862772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27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30" y="3174"/>
            <a:ext cx="12185334" cy="685425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132840190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28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31" y="3174"/>
            <a:ext cx="12185333" cy="685425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666605605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29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31" y="3174"/>
            <a:ext cx="12185333" cy="6854249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44704156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30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Umage_1_video_1920x1080_7-3" descr="Umage_1_video_1920x1080_7-3">
            <a:hlinkClick r:id="" action="ppaction://media"/>
            <a:extLst>
              <a:ext uri="{FF2B5EF4-FFF2-40B4-BE49-F238E27FC236}">
                <a16:creationId xmlns:a16="http://schemas.microsoft.com/office/drawing/2014/main" id="{4AEF326F-0A5F-5A44-AF6E-474B08DBF0D8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-4048" y="1"/>
            <a:ext cx="12196048" cy="6871013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7094918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0000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mute="1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9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9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9"/>
                  </p:tgtEl>
                </p:cond>
              </p:nextCondLst>
            </p:seq>
          </p:childTnLst>
        </p:cTn>
      </p:par>
    </p:tnLst>
  </p:timing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31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Umage_1_video_1920x1080_7-4" descr="Umage_1_video_1920x1080_7-4">
            <a:hlinkClick r:id="" action="ppaction://media"/>
            <a:extLst>
              <a:ext uri="{FF2B5EF4-FFF2-40B4-BE49-F238E27FC236}">
                <a16:creationId xmlns:a16="http://schemas.microsoft.com/office/drawing/2014/main" id="{282CA72B-DAAA-2A47-B97A-964503CA2B59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-1297"/>
            <a:ext cx="12192000" cy="6868732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9252993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0000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mute="1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5) Indhold - højrestillet billede til k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6756400" y="183586"/>
            <a:ext cx="5435600" cy="6674414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4D84763A-749E-DF4C-B99D-871E993C55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24560" y="2203444"/>
            <a:ext cx="4876800" cy="530755"/>
          </a:xfrm>
        </p:spPr>
        <p:txBody>
          <a:bodyPr wrap="non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B8FC78A-CE27-2940-BE8B-96410FE597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24560" y="467361"/>
            <a:ext cx="4876800" cy="15848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>
              <a:defRPr/>
            </a:lvl1pPr>
          </a:lstStyle>
          <a:p>
            <a:r>
              <a:rPr lang="da-DK" noProof="0"/>
              <a:t>Klik for at redigere overskrift</a:t>
            </a:r>
          </a:p>
        </p:txBody>
      </p:sp>
      <p:sp>
        <p:nvSpPr>
          <p:cNvPr id="11" name="Pladsholder til tekst 2">
            <a:extLst>
              <a:ext uri="{FF2B5EF4-FFF2-40B4-BE49-F238E27FC236}">
                <a16:creationId xmlns:a16="http://schemas.microsoft.com/office/drawing/2014/main" id="{B7C381B9-37D6-3045-BDBA-382AE79424D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4560" y="2955926"/>
            <a:ext cx="4876800" cy="320103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00"/>
            </a:lvl1pPr>
            <a:lvl3pPr marL="914423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</p:spTree>
    <p:extLst>
      <p:ext uri="{BB962C8B-B14F-4D97-AF65-F5344CB8AC3E}">
        <p14:creationId xmlns:p14="http://schemas.microsoft.com/office/powerpoint/2010/main" val="692499117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yt afsn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DE115998-8EEC-F14C-8A06-E224BD904D2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0AE144C8-0C64-2E48-BD19-B340504ED30E}"/>
              </a:ext>
            </a:extLst>
          </p:cNvPr>
          <p:cNvSpPr/>
          <p:nvPr userDrawn="1"/>
        </p:nvSpPr>
        <p:spPr>
          <a:xfrm>
            <a:off x="0" y="6714895"/>
            <a:ext cx="12192000" cy="180000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5" name="Tekstfelt 4">
            <a:extLst>
              <a:ext uri="{FF2B5EF4-FFF2-40B4-BE49-F238E27FC236}">
                <a16:creationId xmlns:a16="http://schemas.microsoft.com/office/drawing/2014/main" id="{D926263D-15B6-7E46-9D7B-3581BB98A802}"/>
              </a:ext>
            </a:extLst>
          </p:cNvPr>
          <p:cNvSpPr txBox="1"/>
          <p:nvPr userDrawn="1"/>
        </p:nvSpPr>
        <p:spPr>
          <a:xfrm>
            <a:off x="793596" y="555208"/>
            <a:ext cx="10604810" cy="5747585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da-DK" sz="11501" b="1">
                <a:solidFill>
                  <a:srgbClr val="FFFFFF"/>
                </a:solidFill>
              </a:rPr>
              <a:t>Til store sale</a:t>
            </a:r>
          </a:p>
        </p:txBody>
      </p:sp>
    </p:spTree>
    <p:extLst>
      <p:ext uri="{BB962C8B-B14F-4D97-AF65-F5344CB8AC3E}">
        <p14:creationId xmlns:p14="http://schemas.microsoft.com/office/powerpoint/2010/main" val="1355276257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1) Forside - Intro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DE115998-8EEC-F14C-8A06-E224BD904D2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8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48934" y="984664"/>
            <a:ext cx="1894132" cy="1877822"/>
          </a:xfrm>
          <a:prstGeom prst="rect">
            <a:avLst/>
          </a:prstGeom>
        </p:spPr>
      </p:pic>
      <p:sp>
        <p:nvSpPr>
          <p:cNvPr id="6" name="Rektangel 5">
            <a:extLst>
              <a:ext uri="{FF2B5EF4-FFF2-40B4-BE49-F238E27FC236}">
                <a16:creationId xmlns:a16="http://schemas.microsoft.com/office/drawing/2014/main" id="{0AE144C8-0C64-2E48-BD19-B340504ED30E}"/>
              </a:ext>
            </a:extLst>
          </p:cNvPr>
          <p:cNvSpPr/>
          <p:nvPr userDrawn="1"/>
        </p:nvSpPr>
        <p:spPr>
          <a:xfrm>
            <a:off x="0" y="6714895"/>
            <a:ext cx="12192000" cy="180000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02884CE6-2E01-4949-BAD6-196A401BB85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14400" y="5611154"/>
            <a:ext cx="10363200" cy="411274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2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titel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CD9EFE38-74B0-2C43-8B3B-DBBFECFD80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4035527"/>
            <a:ext cx="10363200" cy="1470524"/>
          </a:xfrm>
        </p:spPr>
        <p:txBody>
          <a:bodyPr/>
          <a:lstStyle>
            <a:lvl1pPr>
              <a:defRPr sz="48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0150EF21-A222-474E-9F0D-36BD39F2EB1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11226" y="3554954"/>
            <a:ext cx="10369550" cy="417513"/>
          </a:xfrm>
        </p:spPr>
        <p:txBody>
          <a:bodyPr/>
          <a:lstStyle>
            <a:lvl1pPr marL="0" indent="0" algn="ctr">
              <a:buNone/>
              <a:defRPr sz="3600" spc="300">
                <a:solidFill>
                  <a:srgbClr val="FEC315"/>
                </a:solidFill>
                <a:latin typeface="Manus" pitchFamily="2" charset="77"/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  <a:lvl4pPr marL="1371635" indent="0">
              <a:buNone/>
              <a:defRPr/>
            </a:lvl4pPr>
            <a:lvl5pPr marL="1828847" indent="0">
              <a:buNone/>
              <a:defRPr/>
            </a:lvl5pPr>
          </a:lstStyle>
          <a:p>
            <a:pPr lvl="0"/>
            <a:r>
              <a:rPr lang="da-DK"/>
              <a:t>Klik for at redigere dato</a:t>
            </a:r>
          </a:p>
        </p:txBody>
      </p:sp>
    </p:spTree>
    <p:extLst>
      <p:ext uri="{BB962C8B-B14F-4D97-AF65-F5344CB8AC3E}">
        <p14:creationId xmlns:p14="http://schemas.microsoft.com/office/powerpoint/2010/main" val="4005031048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1) Indhold - Fuld tekstbo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26565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395491"/>
            <a:ext cx="10363200" cy="353796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2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1AC8D221-56A1-7042-82FD-26771C9796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511513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sz="4800"/>
            </a:lvl1pPr>
          </a:lstStyle>
          <a:p>
            <a:r>
              <a:rPr lang="da-DK" noProof="0"/>
              <a:t>Klik for at redigere overskrift</a:t>
            </a:r>
          </a:p>
        </p:txBody>
      </p:sp>
      <p:sp>
        <p:nvSpPr>
          <p:cNvPr id="7" name="Pladsholder til tekst 2"/>
          <p:cNvSpPr>
            <a:spLocks noGrp="1"/>
          </p:cNvSpPr>
          <p:nvPr>
            <p:ph type="body" sz="quarter" idx="11" hasCustomPrompt="1"/>
          </p:nvPr>
        </p:nvSpPr>
        <p:spPr>
          <a:xfrm>
            <a:off x="914400" y="2120348"/>
            <a:ext cx="10363200" cy="3937552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800"/>
            </a:lvl1pPr>
            <a:lvl3pPr marL="914423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</p:spTree>
    <p:extLst>
      <p:ext uri="{BB962C8B-B14F-4D97-AF65-F5344CB8AC3E}">
        <p14:creationId xmlns:p14="http://schemas.microsoft.com/office/powerpoint/2010/main" val="3476714146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2) Indhold - Ingen tekstbo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74661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AB11F932-EEFF-0F42-A8FD-A7B6C194B95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395491"/>
            <a:ext cx="10363200" cy="353796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2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20B5FF7-064E-A440-964E-203F0CBC0C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511513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sz="4800"/>
            </a:lvl1pPr>
          </a:lstStyle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3835400751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3) Indhold - Centreret budsk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51392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3598548"/>
            <a:ext cx="10363200" cy="1579381"/>
          </a:xfrm>
        </p:spPr>
        <p:txBody>
          <a:bodyPr wrap="square" anchor="t" anchorCtr="0">
            <a:noAutofit/>
          </a:bodyPr>
          <a:lstStyle>
            <a:lvl1pPr marL="0" indent="0" algn="ctr">
              <a:buNone/>
              <a:defRPr lang="da-DK" sz="2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1AC8D221-56A1-7042-82FD-26771C9796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930708"/>
            <a:ext cx="10363200" cy="24184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4800"/>
            </a:lvl1pPr>
          </a:lstStyle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2381471722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4) Indhold - Tekst og tab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63719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dsholder til tekst 2"/>
          <p:cNvSpPr>
            <a:spLocks noGrp="1"/>
          </p:cNvSpPr>
          <p:nvPr>
            <p:ph type="body" sz="quarter" idx="11" hasCustomPrompt="1"/>
          </p:nvPr>
        </p:nvSpPr>
        <p:spPr>
          <a:xfrm>
            <a:off x="914401" y="2090522"/>
            <a:ext cx="4929809" cy="3967379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800"/>
            </a:lvl1pPr>
            <a:lvl3pPr marL="914423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  <p:sp>
        <p:nvSpPr>
          <p:cNvPr id="5" name="Pladsholder til tabel 4">
            <a:extLst>
              <a:ext uri="{FF2B5EF4-FFF2-40B4-BE49-F238E27FC236}">
                <a16:creationId xmlns:a16="http://schemas.microsoft.com/office/drawing/2014/main" id="{2EA14440-FD86-A745-9F55-041D16E11DC7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6096000" y="2090522"/>
            <a:ext cx="5181600" cy="3967379"/>
          </a:xfrm>
          <a:solidFill>
            <a:schemeClr val="bg2"/>
          </a:solidFill>
          <a:ln>
            <a:noFill/>
          </a:ln>
          <a:effectLst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360000" tIns="360000" rIns="360000" bIns="360000"/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r>
              <a:rPr lang="da-DK"/>
              <a:t>Klik på ikonet for at tilføje en tabel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6D3F494E-CD8F-B44A-B895-7802E7D87C9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395491"/>
            <a:ext cx="10363200" cy="353796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2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761361C2-35D9-DC40-ADAE-BE32D61966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511513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sz="4800"/>
            </a:lvl1pPr>
          </a:lstStyle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3657314320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5) Indhold - Et emne med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4142082" y="477952"/>
            <a:ext cx="3907836" cy="2951048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7181481A-2E88-8D46-9166-9ED669A4243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5023692"/>
            <a:ext cx="10363200" cy="1024569"/>
          </a:xfrm>
        </p:spPr>
        <p:txBody>
          <a:bodyPr wrap="square" anchor="t" anchorCtr="0">
            <a:noAutofit/>
          </a:bodyPr>
          <a:lstStyle>
            <a:lvl1pPr marL="0" indent="0" algn="ctr">
              <a:buNone/>
              <a:defRPr lang="da-DK" sz="2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47" name="Title Placeholder 1">
            <a:extLst>
              <a:ext uri="{FF2B5EF4-FFF2-40B4-BE49-F238E27FC236}">
                <a16:creationId xmlns:a16="http://schemas.microsoft.com/office/drawing/2014/main" id="{611C7174-4E01-3847-B4C4-CCC7A05178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3564836"/>
            <a:ext cx="10363200" cy="130927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4800"/>
            </a:lvl1pPr>
          </a:lstStyle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1657229653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6) Indhold - To emner med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2164016" y="1996219"/>
            <a:ext cx="3627184" cy="2213113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22" name="Pladsholder til tekst 3"/>
          <p:cNvSpPr>
            <a:spLocks noGrp="1"/>
          </p:cNvSpPr>
          <p:nvPr>
            <p:ph type="body" sz="quarter" idx="25" hasCustomPrompt="1"/>
          </p:nvPr>
        </p:nvSpPr>
        <p:spPr>
          <a:xfrm>
            <a:off x="2164016" y="4315350"/>
            <a:ext cx="3627184" cy="52913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23" name="Pladsholder til tekst 3"/>
          <p:cNvSpPr>
            <a:spLocks noGrp="1"/>
          </p:cNvSpPr>
          <p:nvPr>
            <p:ph type="body" sz="quarter" idx="26" hasCustomPrompt="1"/>
          </p:nvPr>
        </p:nvSpPr>
        <p:spPr>
          <a:xfrm>
            <a:off x="2164016" y="4993802"/>
            <a:ext cx="3627184" cy="1059239"/>
          </a:xfrm>
        </p:spPr>
        <p:txBody>
          <a:bodyPr/>
          <a:lstStyle>
            <a:lvl1pPr marL="0" indent="0" algn="ctr">
              <a:buNone/>
              <a:defRPr sz="20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F2BF2CA4-3ABA-C14B-868D-D7653200FBC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6400800" y="2001079"/>
            <a:ext cx="3627184" cy="2213113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24" name="Pladsholder til tekst 3">
            <a:extLst>
              <a:ext uri="{FF2B5EF4-FFF2-40B4-BE49-F238E27FC236}">
                <a16:creationId xmlns:a16="http://schemas.microsoft.com/office/drawing/2014/main" id="{0F516A20-06BF-E442-B335-3C7FA7EEC87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400800" y="4315350"/>
            <a:ext cx="3627184" cy="53399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25" name="Pladsholder til tekst 3">
            <a:extLst>
              <a:ext uri="{FF2B5EF4-FFF2-40B4-BE49-F238E27FC236}">
                <a16:creationId xmlns:a16="http://schemas.microsoft.com/office/drawing/2014/main" id="{8D48806D-8505-8F46-82F5-E496FD91153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400800" y="4998662"/>
            <a:ext cx="3627184" cy="1059239"/>
          </a:xfrm>
        </p:spPr>
        <p:txBody>
          <a:bodyPr/>
          <a:lstStyle>
            <a:lvl1pPr marL="0" indent="0" algn="ctr">
              <a:buNone/>
              <a:defRPr sz="20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DDCA192D-13F0-8B44-B645-43979F69C2D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395491"/>
            <a:ext cx="10363200" cy="353796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2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6CBFA1C1-882E-5645-99C0-3185EC1854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511513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sz="4800"/>
            </a:lvl1pPr>
          </a:lstStyle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213271521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7) Indhold - Tre emner med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8E3B89B6-A024-B84B-A5B9-26E24133BBD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901148" y="1996218"/>
            <a:ext cx="3330208" cy="2239618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6" name="Pladsholder til tekst 3">
            <a:extLst>
              <a:ext uri="{FF2B5EF4-FFF2-40B4-BE49-F238E27FC236}">
                <a16:creationId xmlns:a16="http://schemas.microsoft.com/office/drawing/2014/main" id="{882D2D26-0C67-134D-B9A4-B8005DA09D6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01148" y="4315349"/>
            <a:ext cx="3330208" cy="535467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17" name="Pladsholder til tekst 3">
            <a:extLst>
              <a:ext uri="{FF2B5EF4-FFF2-40B4-BE49-F238E27FC236}">
                <a16:creationId xmlns:a16="http://schemas.microsoft.com/office/drawing/2014/main" id="{07DDBD85-7D34-6D4E-839C-CC15FC28691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01148" y="4993802"/>
            <a:ext cx="3330208" cy="1071925"/>
          </a:xfrm>
        </p:spPr>
        <p:txBody>
          <a:bodyPr/>
          <a:lstStyle>
            <a:lvl1pPr marL="0" indent="0" algn="ctr">
              <a:buNone/>
              <a:defRPr sz="20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  <p:sp>
        <p:nvSpPr>
          <p:cNvPr id="26" name="Picture Placeholder 2">
            <a:extLst>
              <a:ext uri="{FF2B5EF4-FFF2-40B4-BE49-F238E27FC236}">
                <a16:creationId xmlns:a16="http://schemas.microsoft.com/office/drawing/2014/main" id="{FCC4041F-0124-C541-AFC8-AE62A127F40F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4417644" y="2001078"/>
            <a:ext cx="3330208" cy="2239618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27" name="Pladsholder til tekst 3">
            <a:extLst>
              <a:ext uri="{FF2B5EF4-FFF2-40B4-BE49-F238E27FC236}">
                <a16:creationId xmlns:a16="http://schemas.microsoft.com/office/drawing/2014/main" id="{7B52DD36-DC98-3D47-A0C3-A9425FAE7D4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17644" y="4315349"/>
            <a:ext cx="3330208" cy="540385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28" name="Pladsholder til tekst 3">
            <a:extLst>
              <a:ext uri="{FF2B5EF4-FFF2-40B4-BE49-F238E27FC236}">
                <a16:creationId xmlns:a16="http://schemas.microsoft.com/office/drawing/2014/main" id="{8501AE1F-28E2-7F4A-8DB5-7A5850E2F85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417644" y="4998662"/>
            <a:ext cx="3330208" cy="1071925"/>
          </a:xfrm>
        </p:spPr>
        <p:txBody>
          <a:bodyPr/>
          <a:lstStyle>
            <a:lvl1pPr marL="0" indent="0" algn="ctr">
              <a:buNone/>
              <a:defRPr sz="20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  <p:sp>
        <p:nvSpPr>
          <p:cNvPr id="29" name="Picture Placeholder 2">
            <a:extLst>
              <a:ext uri="{FF2B5EF4-FFF2-40B4-BE49-F238E27FC236}">
                <a16:creationId xmlns:a16="http://schemas.microsoft.com/office/drawing/2014/main" id="{B62EDF71-561A-6A44-BCF5-2D09A169B936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7934140" y="2001078"/>
            <a:ext cx="3330208" cy="2239618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30" name="Pladsholder til tekst 3">
            <a:extLst>
              <a:ext uri="{FF2B5EF4-FFF2-40B4-BE49-F238E27FC236}">
                <a16:creationId xmlns:a16="http://schemas.microsoft.com/office/drawing/2014/main" id="{D63F48F0-EB0A-1B43-95C7-3DC5C8F084A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934140" y="4315349"/>
            <a:ext cx="3330208" cy="540385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31" name="Pladsholder til tekst 3">
            <a:extLst>
              <a:ext uri="{FF2B5EF4-FFF2-40B4-BE49-F238E27FC236}">
                <a16:creationId xmlns:a16="http://schemas.microsoft.com/office/drawing/2014/main" id="{E901EA20-D2D6-1847-BAEE-155DAFB627D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934140" y="4998662"/>
            <a:ext cx="3330208" cy="1071925"/>
          </a:xfrm>
        </p:spPr>
        <p:txBody>
          <a:bodyPr/>
          <a:lstStyle>
            <a:lvl1pPr marL="0" indent="0" algn="ctr">
              <a:buNone/>
              <a:defRPr sz="20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224E5EFD-6BAF-C446-8E69-8A63CE6F135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395491"/>
            <a:ext cx="10363200" cy="353796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2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33" name="Title Placeholder 1">
            <a:extLst>
              <a:ext uri="{FF2B5EF4-FFF2-40B4-BE49-F238E27FC236}">
                <a16:creationId xmlns:a16="http://schemas.microsoft.com/office/drawing/2014/main" id="{4C9323F9-7A7F-EA45-A263-1F23E41572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511513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sz="4800"/>
            </a:lvl1pPr>
          </a:lstStyle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1813007810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8) Indhold - Fire emner med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E7B02512-77B6-3E4D-A7FE-46004AAB3DD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901148" y="1996219"/>
            <a:ext cx="2514958" cy="2105409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7" name="Pladsholder til tekst 3">
            <a:extLst>
              <a:ext uri="{FF2B5EF4-FFF2-40B4-BE49-F238E27FC236}">
                <a16:creationId xmlns:a16="http://schemas.microsoft.com/office/drawing/2014/main" id="{3030EC21-C95B-AA41-BCB4-09DF2642AA4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01148" y="4315349"/>
            <a:ext cx="2514958" cy="535467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18" name="Pladsholder til tekst 3">
            <a:extLst>
              <a:ext uri="{FF2B5EF4-FFF2-40B4-BE49-F238E27FC236}">
                <a16:creationId xmlns:a16="http://schemas.microsoft.com/office/drawing/2014/main" id="{AF32A35C-97F0-EF40-A200-C2393DDA49F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01148" y="4993802"/>
            <a:ext cx="2514958" cy="1071925"/>
          </a:xfrm>
        </p:spPr>
        <p:txBody>
          <a:bodyPr/>
          <a:lstStyle>
            <a:lvl1pPr marL="0" indent="0" algn="ctr">
              <a:buNone/>
              <a:defRPr sz="20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E47EE4D6-54EE-6B4D-94BC-576A41578E7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519870" y="2001079"/>
            <a:ext cx="2514958" cy="2105409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20" name="Pladsholder til tekst 3">
            <a:extLst>
              <a:ext uri="{FF2B5EF4-FFF2-40B4-BE49-F238E27FC236}">
                <a16:creationId xmlns:a16="http://schemas.microsoft.com/office/drawing/2014/main" id="{FC54151C-9BD2-9441-B192-9C92CA68A4D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519870" y="4315349"/>
            <a:ext cx="2514958" cy="540385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21" name="Pladsholder til tekst 3">
            <a:extLst>
              <a:ext uri="{FF2B5EF4-FFF2-40B4-BE49-F238E27FC236}">
                <a16:creationId xmlns:a16="http://schemas.microsoft.com/office/drawing/2014/main" id="{0B9E6C6A-AE43-0C41-855D-6826155AE3D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519870" y="4998662"/>
            <a:ext cx="2514958" cy="1071925"/>
          </a:xfrm>
        </p:spPr>
        <p:txBody>
          <a:bodyPr/>
          <a:lstStyle>
            <a:lvl1pPr marL="0" indent="0" algn="ctr">
              <a:buNone/>
              <a:defRPr sz="20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  <p:sp>
        <p:nvSpPr>
          <p:cNvPr id="24" name="Picture Placeholder 2">
            <a:extLst>
              <a:ext uri="{FF2B5EF4-FFF2-40B4-BE49-F238E27FC236}">
                <a16:creationId xmlns:a16="http://schemas.microsoft.com/office/drawing/2014/main" id="{914B9948-AB67-514F-A195-A8D1BA9309C1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6137566" y="2001079"/>
            <a:ext cx="2514958" cy="2105409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25" name="Pladsholder til tekst 3">
            <a:extLst>
              <a:ext uri="{FF2B5EF4-FFF2-40B4-BE49-F238E27FC236}">
                <a16:creationId xmlns:a16="http://schemas.microsoft.com/office/drawing/2014/main" id="{74ECA657-6A3A-1543-92C3-C61349168AA2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137566" y="4315349"/>
            <a:ext cx="2514958" cy="540385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26" name="Pladsholder til tekst 3">
            <a:extLst>
              <a:ext uri="{FF2B5EF4-FFF2-40B4-BE49-F238E27FC236}">
                <a16:creationId xmlns:a16="http://schemas.microsoft.com/office/drawing/2014/main" id="{5C9C9D67-6C46-924B-AF1B-E5B807F7146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137566" y="4998662"/>
            <a:ext cx="2514958" cy="1071925"/>
          </a:xfrm>
        </p:spPr>
        <p:txBody>
          <a:bodyPr/>
          <a:lstStyle>
            <a:lvl1pPr marL="0" indent="0" algn="ctr">
              <a:buNone/>
              <a:defRPr sz="20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FBB4852E-96B9-3E44-86C7-1D0B200D119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395491"/>
            <a:ext cx="10363200" cy="353796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2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28" name="Title Placeholder 1">
            <a:extLst>
              <a:ext uri="{FF2B5EF4-FFF2-40B4-BE49-F238E27FC236}">
                <a16:creationId xmlns:a16="http://schemas.microsoft.com/office/drawing/2014/main" id="{CAFE22BC-7CFF-8048-8841-439F660FF1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511513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sz="4800"/>
            </a:lvl1pPr>
          </a:lstStyle>
          <a:p>
            <a:r>
              <a:rPr lang="da-DK" noProof="0"/>
              <a:t>Klik for at redigere overskrift</a:t>
            </a:r>
          </a:p>
        </p:txBody>
      </p:sp>
      <p:sp>
        <p:nvSpPr>
          <p:cNvPr id="29" name="Picture Placeholder 2">
            <a:extLst>
              <a:ext uri="{FF2B5EF4-FFF2-40B4-BE49-F238E27FC236}">
                <a16:creationId xmlns:a16="http://schemas.microsoft.com/office/drawing/2014/main" id="{0C59EBB3-3967-8946-9F8B-14CDF2AC3A60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8763574" y="2001079"/>
            <a:ext cx="2514958" cy="2105409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30" name="Pladsholder til tekst 3">
            <a:extLst>
              <a:ext uri="{FF2B5EF4-FFF2-40B4-BE49-F238E27FC236}">
                <a16:creationId xmlns:a16="http://schemas.microsoft.com/office/drawing/2014/main" id="{77BB1D31-72DA-2342-B1B2-2962322C16C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763574" y="4315349"/>
            <a:ext cx="2514958" cy="540385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31" name="Pladsholder til tekst 3">
            <a:extLst>
              <a:ext uri="{FF2B5EF4-FFF2-40B4-BE49-F238E27FC236}">
                <a16:creationId xmlns:a16="http://schemas.microsoft.com/office/drawing/2014/main" id="{8B92E519-CB80-BC42-9A99-69D17D05465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763574" y="4998662"/>
            <a:ext cx="2514958" cy="1071925"/>
          </a:xfrm>
        </p:spPr>
        <p:txBody>
          <a:bodyPr/>
          <a:lstStyle>
            <a:lvl1pPr marL="0" indent="0" algn="ctr">
              <a:buNone/>
              <a:defRPr sz="20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</p:spTree>
    <p:extLst>
      <p:ext uri="{BB962C8B-B14F-4D97-AF65-F5344CB8AC3E}">
        <p14:creationId xmlns:p14="http://schemas.microsoft.com/office/powerpoint/2010/main" val="417230152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6) Indhold - topstillet billede til k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183587"/>
            <a:ext cx="12192000" cy="3650747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74109B2-14F7-8C45-B436-1D932F43BA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262972"/>
            <a:ext cx="10363200" cy="198541"/>
          </a:xfrm>
        </p:spPr>
        <p:txBody>
          <a:bodyPr wrap="none" anchor="ctr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20DAE04-02FA-FA4E-80B1-DEACAA8CA1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432001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/>
            </a:lvl1pPr>
          </a:lstStyle>
          <a:p>
            <a:r>
              <a:rPr lang="da-DK" noProof="0"/>
              <a:t>Klik for at redigere overskrift</a:t>
            </a:r>
          </a:p>
        </p:txBody>
      </p:sp>
      <p:sp>
        <p:nvSpPr>
          <p:cNvPr id="11" name="Pladsholder til tekst 2">
            <a:extLst>
              <a:ext uri="{FF2B5EF4-FFF2-40B4-BE49-F238E27FC236}">
                <a16:creationId xmlns:a16="http://schemas.microsoft.com/office/drawing/2014/main" id="{660E2045-251E-0C48-95E3-D254032436F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4400" y="4419600"/>
            <a:ext cx="9076800" cy="18389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00"/>
            </a:lvl1pPr>
            <a:lvl3pPr marL="914423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</p:spTree>
    <p:extLst>
      <p:ext uri="{BB962C8B-B14F-4D97-AF65-F5344CB8AC3E}">
        <p14:creationId xmlns:p14="http://schemas.microsoft.com/office/powerpoint/2010/main" val="4207106610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9) Indhold - venstrestillet billede med budsk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943717" y="1123721"/>
            <a:ext cx="4572000" cy="4726236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7181481A-2E88-8D46-9166-9ED669A4243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0973" y="3922005"/>
            <a:ext cx="4745659" cy="1707615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47" name="Title Placeholder 1">
            <a:extLst>
              <a:ext uri="{FF2B5EF4-FFF2-40B4-BE49-F238E27FC236}">
                <a16:creationId xmlns:a16="http://schemas.microsoft.com/office/drawing/2014/main" id="{611C7174-4E01-3847-B4C4-CCC7A05178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60973" y="1663545"/>
            <a:ext cx="5023693" cy="18885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>
              <a:defRPr sz="4800"/>
            </a:lvl1pPr>
          </a:lstStyle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3804728670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10) Indhold - højrestillet billede med budsk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6626600" y="1123721"/>
            <a:ext cx="4572000" cy="4726236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7181481A-2E88-8D46-9166-9ED669A4243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70342" y="3922005"/>
            <a:ext cx="4745659" cy="1707615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47" name="Title Placeholder 1">
            <a:extLst>
              <a:ext uri="{FF2B5EF4-FFF2-40B4-BE49-F238E27FC236}">
                <a16:creationId xmlns:a16="http://schemas.microsoft.com/office/drawing/2014/main" id="{611C7174-4E01-3847-B4C4-CCC7A05178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0342" y="1663545"/>
            <a:ext cx="5023693" cy="18885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>
              <a:defRPr sz="4800"/>
            </a:lvl1pPr>
          </a:lstStyle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867059424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11) Indhold - billedekollag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914401" y="2019996"/>
            <a:ext cx="2796988" cy="3894687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3772861" y="2019996"/>
            <a:ext cx="2796988" cy="1996731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631321" y="2019996"/>
            <a:ext cx="4646279" cy="1996731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6631321" y="4089863"/>
            <a:ext cx="4646279" cy="1824821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3779737" y="4089862"/>
            <a:ext cx="2796988" cy="182692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B04F7A2D-1D60-924D-8691-343C17E54BF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081798" y="4304061"/>
            <a:ext cx="2195929" cy="1426183"/>
          </a:xfrm>
        </p:spPr>
        <p:txBody>
          <a:bodyPr wrap="square" anchor="ctr" anchorCtr="0">
            <a:noAutofit/>
          </a:bodyPr>
          <a:lstStyle>
            <a:lvl1pPr marL="0" indent="0" algn="ctr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34353D1-F63C-274C-A2AA-4931139C8A8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395491"/>
            <a:ext cx="10363200" cy="353796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2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9197B0DB-59BC-5C4E-A85E-E3E4C17531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511513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sz="4800"/>
            </a:lvl1pPr>
          </a:lstStyle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2860112684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12) Indhold - billedekollage med 6 bille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5609345" y="2030864"/>
            <a:ext cx="2796988" cy="2010738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914401" y="2030864"/>
            <a:ext cx="4646279" cy="2010738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3611496" y="4098637"/>
            <a:ext cx="4794838" cy="1761837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5" hasCustomPrompt="1"/>
          </p:nvPr>
        </p:nvSpPr>
        <p:spPr>
          <a:xfrm>
            <a:off x="8454999" y="2030864"/>
            <a:ext cx="2822600" cy="2010738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6" hasCustomPrompt="1"/>
          </p:nvPr>
        </p:nvSpPr>
        <p:spPr>
          <a:xfrm>
            <a:off x="914400" y="4098637"/>
            <a:ext cx="2635624" cy="1761837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8454999" y="4098637"/>
            <a:ext cx="2822600" cy="1761837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C433FED9-97B9-584F-A6D1-ED3735AFE12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395491"/>
            <a:ext cx="10363200" cy="353796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2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74EC77A8-1058-604D-AA07-79EB3B6DF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511513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sz="4800"/>
            </a:lvl1pPr>
          </a:lstStyle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559918473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13) Indhold - billedekollage med 4 bille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5609345" y="2036620"/>
            <a:ext cx="2796988" cy="2038294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914401" y="2036621"/>
            <a:ext cx="4646279" cy="3936251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5" hasCustomPrompt="1"/>
          </p:nvPr>
        </p:nvSpPr>
        <p:spPr>
          <a:xfrm>
            <a:off x="8454999" y="2036620"/>
            <a:ext cx="2822600" cy="2038294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5609346" y="4139739"/>
            <a:ext cx="5668254" cy="1833133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71244420-0C1D-A54B-9BEA-A64234EE088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395491"/>
            <a:ext cx="10363200" cy="353796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2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666A353E-08D4-944F-B5D4-CA3495E1A8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511513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sz="4800"/>
            </a:lvl1pPr>
          </a:lstStyle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179971935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14) Indhold - venstrestillet billede til k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4D84763A-749E-DF4C-B99D-871E993C55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00800" y="2801961"/>
            <a:ext cx="4876800" cy="530755"/>
          </a:xfrm>
        </p:spPr>
        <p:txBody>
          <a:bodyPr wrap="none" anchor="t" anchorCtr="0">
            <a:noAutofit/>
          </a:bodyPr>
          <a:lstStyle>
            <a:lvl1pPr marL="0" indent="0" algn="l">
              <a:buNone/>
              <a:defRPr lang="da-DK" sz="2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B8FC78A-CE27-2940-BE8B-96410FE597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0800" y="507079"/>
            <a:ext cx="4876800" cy="214364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>
              <a:defRPr sz="4800"/>
            </a:lvl1pPr>
          </a:lstStyle>
          <a:p>
            <a:r>
              <a:rPr lang="da-DK" noProof="0"/>
              <a:t>Klik for at redigere overskrift</a:t>
            </a:r>
          </a:p>
        </p:txBody>
      </p:sp>
      <p:sp>
        <p:nvSpPr>
          <p:cNvPr id="11" name="Pladsholder til tekst 2">
            <a:extLst>
              <a:ext uri="{FF2B5EF4-FFF2-40B4-BE49-F238E27FC236}">
                <a16:creationId xmlns:a16="http://schemas.microsoft.com/office/drawing/2014/main" id="{B7C381B9-37D6-3045-BDBA-382AE79424D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00800" y="3715792"/>
            <a:ext cx="4876800" cy="244394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800"/>
            </a:lvl1pPr>
            <a:lvl3pPr marL="914423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A7226904-5333-1643-A028-C32C08635BC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187116"/>
            <a:ext cx="5450468" cy="6670883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983493565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15) Indhold - højrestillet billede til k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6756400" y="183586"/>
            <a:ext cx="5435600" cy="6674414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F03205F-5AF1-8C44-8C5D-FA8E93654D7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24560" y="2801961"/>
            <a:ext cx="4876800" cy="530755"/>
          </a:xfrm>
        </p:spPr>
        <p:txBody>
          <a:bodyPr wrap="none" anchor="t" anchorCtr="0">
            <a:noAutofit/>
          </a:bodyPr>
          <a:lstStyle>
            <a:lvl1pPr marL="0" indent="0" algn="l">
              <a:buNone/>
              <a:defRPr lang="da-DK" sz="2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12" name="Pladsholder til tekst 2">
            <a:extLst>
              <a:ext uri="{FF2B5EF4-FFF2-40B4-BE49-F238E27FC236}">
                <a16:creationId xmlns:a16="http://schemas.microsoft.com/office/drawing/2014/main" id="{2C7903EA-DB60-B04D-98D6-FBA25BBCDE5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4560" y="3715792"/>
            <a:ext cx="4876800" cy="244394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800"/>
            </a:lvl1pPr>
            <a:lvl3pPr marL="914423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054F9CDD-2960-D043-9561-8FBD8B17D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24560" y="507079"/>
            <a:ext cx="4876800" cy="214364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>
              <a:defRPr sz="4800"/>
            </a:lvl1pPr>
          </a:lstStyle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3981575413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0) Nyt afsnit - Mellemslide (indsæt billed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E0728A4A-9392-3044-A1DB-26D65B235A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23" name="Titel 9">
            <a:extLst>
              <a:ext uri="{FF2B5EF4-FFF2-40B4-BE49-F238E27FC236}">
                <a16:creationId xmlns:a16="http://schemas.microsoft.com/office/drawing/2014/main" id="{F443A15A-C60D-A744-B381-2453017F91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26" name="Billede 25">
            <a:extLst>
              <a:ext uri="{FF2B5EF4-FFF2-40B4-BE49-F238E27FC236}">
                <a16:creationId xmlns:a16="http://schemas.microsoft.com/office/drawing/2014/main" id="{D00CBDA2-D83C-C64D-8FE0-E7AFC79E139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BCF49B0B-A67E-0347-B3E2-E981321E0A3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-1880" y="0"/>
            <a:ext cx="12193879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0 h 6858000"/>
              <a:gd name="connsiteX0" fmla="*/ 18 w 12192018"/>
              <a:gd name="connsiteY0" fmla="*/ 0 h 6858000"/>
              <a:gd name="connsiteX1" fmla="*/ 12192018 w 12192018"/>
              <a:gd name="connsiteY1" fmla="*/ 0 h 6858000"/>
              <a:gd name="connsiteX2" fmla="*/ 12192018 w 12192018"/>
              <a:gd name="connsiteY2" fmla="*/ 6858000 h 6858000"/>
              <a:gd name="connsiteX3" fmla="*/ 18 w 12192018"/>
              <a:gd name="connsiteY3" fmla="*/ 6858000 h 6858000"/>
              <a:gd name="connsiteX4" fmla="*/ 2377458 w 12192018"/>
              <a:gd name="connsiteY4" fmla="*/ 2971800 h 6858000"/>
              <a:gd name="connsiteX5" fmla="*/ 18 w 12192018"/>
              <a:gd name="connsiteY5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3115657 w 12930217"/>
              <a:gd name="connsiteY5" fmla="*/ 2971800 h 6858000"/>
              <a:gd name="connsiteX6" fmla="*/ 738217 w 12930217"/>
              <a:gd name="connsiteY6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3115657 w 12930217"/>
              <a:gd name="connsiteY6" fmla="*/ 2971800 h 6858000"/>
              <a:gd name="connsiteX7" fmla="*/ 738217 w 12930217"/>
              <a:gd name="connsiteY7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749647 w 12930217"/>
              <a:gd name="connsiteY7" fmla="*/ 30861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749647 w 12930217"/>
              <a:gd name="connsiteY7" fmla="*/ 3086100 h 6858000"/>
              <a:gd name="connsiteX8" fmla="*/ 738217 w 12930217"/>
              <a:gd name="connsiteY8" fmla="*/ 0 h 6858000"/>
              <a:gd name="connsiteX0" fmla="*/ 849833 w 13041833"/>
              <a:gd name="connsiteY0" fmla="*/ 0 h 6858000"/>
              <a:gd name="connsiteX1" fmla="*/ 13041833 w 13041833"/>
              <a:gd name="connsiteY1" fmla="*/ 0 h 6858000"/>
              <a:gd name="connsiteX2" fmla="*/ 13041833 w 13041833"/>
              <a:gd name="connsiteY2" fmla="*/ 6858000 h 6858000"/>
              <a:gd name="connsiteX3" fmla="*/ 849833 w 13041833"/>
              <a:gd name="connsiteY3" fmla="*/ 6858000 h 6858000"/>
              <a:gd name="connsiteX4" fmla="*/ 1307033 w 13041833"/>
              <a:gd name="connsiteY4" fmla="*/ 5829300 h 6858000"/>
              <a:gd name="connsiteX5" fmla="*/ 7067754 w 13041833"/>
              <a:gd name="connsiteY5" fmla="*/ 5772150 h 6858000"/>
              <a:gd name="connsiteX6" fmla="*/ 8096454 w 13041833"/>
              <a:gd name="connsiteY6" fmla="*/ 3086100 h 6858000"/>
              <a:gd name="connsiteX7" fmla="*/ 861263 w 13041833"/>
              <a:gd name="connsiteY7" fmla="*/ 3086100 h 6858000"/>
              <a:gd name="connsiteX8" fmla="*/ 849833 w 13041833"/>
              <a:gd name="connsiteY8" fmla="*/ 0 h 6858000"/>
              <a:gd name="connsiteX0" fmla="*/ 796095 w 12988095"/>
              <a:gd name="connsiteY0" fmla="*/ 0 h 6858000"/>
              <a:gd name="connsiteX1" fmla="*/ 12988095 w 12988095"/>
              <a:gd name="connsiteY1" fmla="*/ 0 h 6858000"/>
              <a:gd name="connsiteX2" fmla="*/ 12988095 w 12988095"/>
              <a:gd name="connsiteY2" fmla="*/ 6858000 h 6858000"/>
              <a:gd name="connsiteX3" fmla="*/ 796095 w 12988095"/>
              <a:gd name="connsiteY3" fmla="*/ 6858000 h 6858000"/>
              <a:gd name="connsiteX4" fmla="*/ 1253295 w 12988095"/>
              <a:gd name="connsiteY4" fmla="*/ 5829300 h 6858000"/>
              <a:gd name="connsiteX5" fmla="*/ 7014016 w 12988095"/>
              <a:gd name="connsiteY5" fmla="*/ 5772150 h 6858000"/>
              <a:gd name="connsiteX6" fmla="*/ 8042716 w 12988095"/>
              <a:gd name="connsiteY6" fmla="*/ 3086100 h 6858000"/>
              <a:gd name="connsiteX7" fmla="*/ 807525 w 12988095"/>
              <a:gd name="connsiteY7" fmla="*/ 3086100 h 6858000"/>
              <a:gd name="connsiteX8" fmla="*/ 796095 w 12988095"/>
              <a:gd name="connsiteY8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457200 w 12192000"/>
              <a:gd name="connsiteY4" fmla="*/ 5829300 h 6858000"/>
              <a:gd name="connsiteX5" fmla="*/ 6217921 w 12192000"/>
              <a:gd name="connsiteY5" fmla="*/ 5772150 h 6858000"/>
              <a:gd name="connsiteX6" fmla="*/ 7246621 w 12192000"/>
              <a:gd name="connsiteY6" fmla="*/ 3086100 h 6858000"/>
              <a:gd name="connsiteX7" fmla="*/ 11430 w 12192000"/>
              <a:gd name="connsiteY7" fmla="*/ 3086100 h 6858000"/>
              <a:gd name="connsiteX8" fmla="*/ 0 w 12192000"/>
              <a:gd name="connsiteY8" fmla="*/ 0 h 6858000"/>
              <a:gd name="connsiteX0" fmla="*/ 45732 w 12237732"/>
              <a:gd name="connsiteY0" fmla="*/ 0 h 6858000"/>
              <a:gd name="connsiteX1" fmla="*/ 12237732 w 12237732"/>
              <a:gd name="connsiteY1" fmla="*/ 0 h 6858000"/>
              <a:gd name="connsiteX2" fmla="*/ 12237732 w 12237732"/>
              <a:gd name="connsiteY2" fmla="*/ 6858000 h 6858000"/>
              <a:gd name="connsiteX3" fmla="*/ 45732 w 12237732"/>
              <a:gd name="connsiteY3" fmla="*/ 6858000 h 6858000"/>
              <a:gd name="connsiteX4" fmla="*/ 57162 w 12237732"/>
              <a:gd name="connsiteY4" fmla="*/ 5806440 h 6858000"/>
              <a:gd name="connsiteX5" fmla="*/ 6263653 w 12237732"/>
              <a:gd name="connsiteY5" fmla="*/ 5772150 h 6858000"/>
              <a:gd name="connsiteX6" fmla="*/ 7292353 w 12237732"/>
              <a:gd name="connsiteY6" fmla="*/ 3086100 h 6858000"/>
              <a:gd name="connsiteX7" fmla="*/ 57162 w 12237732"/>
              <a:gd name="connsiteY7" fmla="*/ 3086100 h 6858000"/>
              <a:gd name="connsiteX8" fmla="*/ 45732 w 12237732"/>
              <a:gd name="connsiteY8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11430 w 12192000"/>
              <a:gd name="connsiteY4" fmla="*/ 5806440 h 6858000"/>
              <a:gd name="connsiteX5" fmla="*/ 6217921 w 12192000"/>
              <a:gd name="connsiteY5" fmla="*/ 5772150 h 6858000"/>
              <a:gd name="connsiteX6" fmla="*/ 7246621 w 12192000"/>
              <a:gd name="connsiteY6" fmla="*/ 3086100 h 6858000"/>
              <a:gd name="connsiteX7" fmla="*/ 11430 w 12192000"/>
              <a:gd name="connsiteY7" fmla="*/ 3086100 h 6858000"/>
              <a:gd name="connsiteX8" fmla="*/ 0 w 12192000"/>
              <a:gd name="connsiteY8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11430 w 12192000"/>
              <a:gd name="connsiteY4" fmla="*/ 5806440 h 6858000"/>
              <a:gd name="connsiteX5" fmla="*/ 6217921 w 12192000"/>
              <a:gd name="connsiteY5" fmla="*/ 5772150 h 6858000"/>
              <a:gd name="connsiteX6" fmla="*/ 7246621 w 12192000"/>
              <a:gd name="connsiteY6" fmla="*/ 3086100 h 6858000"/>
              <a:gd name="connsiteX7" fmla="*/ 11430 w 12192000"/>
              <a:gd name="connsiteY7" fmla="*/ 3086100 h 6858000"/>
              <a:gd name="connsiteX8" fmla="*/ 0 w 12192000"/>
              <a:gd name="connsiteY8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11430 w 12192000"/>
              <a:gd name="connsiteY4" fmla="*/ 5806440 h 6858000"/>
              <a:gd name="connsiteX5" fmla="*/ 7223761 w 12192000"/>
              <a:gd name="connsiteY5" fmla="*/ 5806440 h 6858000"/>
              <a:gd name="connsiteX6" fmla="*/ 7246621 w 12192000"/>
              <a:gd name="connsiteY6" fmla="*/ 3086100 h 6858000"/>
              <a:gd name="connsiteX7" fmla="*/ 11430 w 12192000"/>
              <a:gd name="connsiteY7" fmla="*/ 3086100 h 6858000"/>
              <a:gd name="connsiteX8" fmla="*/ 0 w 12192000"/>
              <a:gd name="connsiteY8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11430 w 12192000"/>
              <a:gd name="connsiteY4" fmla="*/ 5806440 h 6858000"/>
              <a:gd name="connsiteX5" fmla="*/ 7223761 w 12192000"/>
              <a:gd name="connsiteY5" fmla="*/ 5806440 h 6858000"/>
              <a:gd name="connsiteX6" fmla="*/ 7246621 w 12192000"/>
              <a:gd name="connsiteY6" fmla="*/ 3086100 h 6858000"/>
              <a:gd name="connsiteX7" fmla="*/ 11430 w 12192000"/>
              <a:gd name="connsiteY7" fmla="*/ 3086100 h 6858000"/>
              <a:gd name="connsiteX8" fmla="*/ 0 w 12192000"/>
              <a:gd name="connsiteY8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11430 w 12192000"/>
              <a:gd name="connsiteY4" fmla="*/ 5806440 h 6858000"/>
              <a:gd name="connsiteX5" fmla="*/ 7223761 w 12192000"/>
              <a:gd name="connsiteY5" fmla="*/ 5806440 h 6858000"/>
              <a:gd name="connsiteX6" fmla="*/ 7246621 w 12192000"/>
              <a:gd name="connsiteY6" fmla="*/ 3086100 h 6858000"/>
              <a:gd name="connsiteX7" fmla="*/ 11430 w 12192000"/>
              <a:gd name="connsiteY7" fmla="*/ 3086100 h 6858000"/>
              <a:gd name="connsiteX8" fmla="*/ 0 w 12192000"/>
              <a:gd name="connsiteY8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11430 w 12192000"/>
              <a:gd name="connsiteY4" fmla="*/ 5806440 h 6858000"/>
              <a:gd name="connsiteX5" fmla="*/ 7223761 w 12192000"/>
              <a:gd name="connsiteY5" fmla="*/ 5806440 h 6858000"/>
              <a:gd name="connsiteX6" fmla="*/ 7246621 w 12192000"/>
              <a:gd name="connsiteY6" fmla="*/ 3086100 h 6858000"/>
              <a:gd name="connsiteX7" fmla="*/ 11430 w 12192000"/>
              <a:gd name="connsiteY7" fmla="*/ 3086100 h 6858000"/>
              <a:gd name="connsiteX8" fmla="*/ 0 w 12192000"/>
              <a:gd name="connsiteY8" fmla="*/ 0 h 6858000"/>
              <a:gd name="connsiteX0" fmla="*/ 1270 w 12193270"/>
              <a:gd name="connsiteY0" fmla="*/ 0 h 6858000"/>
              <a:gd name="connsiteX1" fmla="*/ 12193270 w 12193270"/>
              <a:gd name="connsiteY1" fmla="*/ 0 h 6858000"/>
              <a:gd name="connsiteX2" fmla="*/ 12193270 w 12193270"/>
              <a:gd name="connsiteY2" fmla="*/ 6858000 h 6858000"/>
              <a:gd name="connsiteX3" fmla="*/ 1270 w 12193270"/>
              <a:gd name="connsiteY3" fmla="*/ 6858000 h 6858000"/>
              <a:gd name="connsiteX4" fmla="*/ 12700 w 12193270"/>
              <a:gd name="connsiteY4" fmla="*/ 5806440 h 6858000"/>
              <a:gd name="connsiteX5" fmla="*/ 7225031 w 12193270"/>
              <a:gd name="connsiteY5" fmla="*/ 5806440 h 6858000"/>
              <a:gd name="connsiteX6" fmla="*/ 7247891 w 12193270"/>
              <a:gd name="connsiteY6" fmla="*/ 3086100 h 6858000"/>
              <a:gd name="connsiteX7" fmla="*/ 0 w 12193270"/>
              <a:gd name="connsiteY7" fmla="*/ 3092450 h 6858000"/>
              <a:gd name="connsiteX8" fmla="*/ 1270 w 12193270"/>
              <a:gd name="connsiteY8" fmla="*/ 0 h 6858000"/>
              <a:gd name="connsiteX0" fmla="*/ 1270 w 12193270"/>
              <a:gd name="connsiteY0" fmla="*/ 0 h 6858000"/>
              <a:gd name="connsiteX1" fmla="*/ 12193270 w 12193270"/>
              <a:gd name="connsiteY1" fmla="*/ 0 h 6858000"/>
              <a:gd name="connsiteX2" fmla="*/ 12193270 w 12193270"/>
              <a:gd name="connsiteY2" fmla="*/ 6858000 h 6858000"/>
              <a:gd name="connsiteX3" fmla="*/ 1270 w 12193270"/>
              <a:gd name="connsiteY3" fmla="*/ 6858000 h 6858000"/>
              <a:gd name="connsiteX4" fmla="*/ 6350 w 12193270"/>
              <a:gd name="connsiteY4" fmla="*/ 5825490 h 6858000"/>
              <a:gd name="connsiteX5" fmla="*/ 7225031 w 12193270"/>
              <a:gd name="connsiteY5" fmla="*/ 5806440 h 6858000"/>
              <a:gd name="connsiteX6" fmla="*/ 7247891 w 12193270"/>
              <a:gd name="connsiteY6" fmla="*/ 3086100 h 6858000"/>
              <a:gd name="connsiteX7" fmla="*/ 0 w 12193270"/>
              <a:gd name="connsiteY7" fmla="*/ 3092450 h 6858000"/>
              <a:gd name="connsiteX8" fmla="*/ 1270 w 12193270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25640 w 12193879"/>
              <a:gd name="connsiteY5" fmla="*/ 5806440 h 6858000"/>
              <a:gd name="connsiteX6" fmla="*/ 7248500 w 12193879"/>
              <a:gd name="connsiteY6" fmla="*/ 308610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25640 w 12193879"/>
              <a:gd name="connsiteY5" fmla="*/ 5806440 h 6858000"/>
              <a:gd name="connsiteX6" fmla="*/ 7248500 w 12193879"/>
              <a:gd name="connsiteY6" fmla="*/ 308610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51040 w 12193879"/>
              <a:gd name="connsiteY5" fmla="*/ 5825490 h 6858000"/>
              <a:gd name="connsiteX6" fmla="*/ 7248500 w 12193879"/>
              <a:gd name="connsiteY6" fmla="*/ 308610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51040 w 12193879"/>
              <a:gd name="connsiteY5" fmla="*/ 5825490 h 6858000"/>
              <a:gd name="connsiteX6" fmla="*/ 7248500 w 12193879"/>
              <a:gd name="connsiteY6" fmla="*/ 308610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51040 w 12193879"/>
              <a:gd name="connsiteY5" fmla="*/ 5825490 h 6858000"/>
              <a:gd name="connsiteX6" fmla="*/ 7245325 w 12193879"/>
              <a:gd name="connsiteY6" fmla="*/ 309245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51040 w 12193879"/>
              <a:gd name="connsiteY5" fmla="*/ 5825490 h 6858000"/>
              <a:gd name="connsiteX6" fmla="*/ 7245325 w 12193879"/>
              <a:gd name="connsiteY6" fmla="*/ 309245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51040 w 12193879"/>
              <a:gd name="connsiteY5" fmla="*/ 5825490 h 6858000"/>
              <a:gd name="connsiteX6" fmla="*/ 7245325 w 12193879"/>
              <a:gd name="connsiteY6" fmla="*/ 309245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51040 w 12193879"/>
              <a:gd name="connsiteY5" fmla="*/ 5825490 h 6858000"/>
              <a:gd name="connsiteX6" fmla="*/ 7254850 w 12193879"/>
              <a:gd name="connsiteY6" fmla="*/ 309245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51040 w 12193879"/>
              <a:gd name="connsiteY5" fmla="*/ 5825490 h 6858000"/>
              <a:gd name="connsiteX6" fmla="*/ 7254850 w 12193879"/>
              <a:gd name="connsiteY6" fmla="*/ 309245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47865 w 12193879"/>
              <a:gd name="connsiteY5" fmla="*/ 5825490 h 6858000"/>
              <a:gd name="connsiteX6" fmla="*/ 7254850 w 12193879"/>
              <a:gd name="connsiteY6" fmla="*/ 309245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47865 w 12193879"/>
              <a:gd name="connsiteY5" fmla="*/ 5825490 h 6858000"/>
              <a:gd name="connsiteX6" fmla="*/ 7251675 w 12193879"/>
              <a:gd name="connsiteY6" fmla="*/ 3089275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47865 w 12193879"/>
              <a:gd name="connsiteY5" fmla="*/ 5819140 h 6858000"/>
              <a:gd name="connsiteX6" fmla="*/ 7251675 w 12193879"/>
              <a:gd name="connsiteY6" fmla="*/ 3089275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3879" h="6858000">
                <a:moveTo>
                  <a:pt x="1879" y="0"/>
                </a:moveTo>
                <a:lnTo>
                  <a:pt x="12193879" y="0"/>
                </a:lnTo>
                <a:lnTo>
                  <a:pt x="12193879" y="6858000"/>
                </a:lnTo>
                <a:lnTo>
                  <a:pt x="1879" y="6858000"/>
                </a:lnTo>
                <a:cubicBezTo>
                  <a:pt x="2514" y="6059805"/>
                  <a:pt x="-3836" y="6492875"/>
                  <a:pt x="3784" y="5822315"/>
                </a:cubicBezTo>
                <a:lnTo>
                  <a:pt x="7247865" y="5819140"/>
                </a:lnTo>
                <a:cubicBezTo>
                  <a:pt x="7250405" y="4772660"/>
                  <a:pt x="7247230" y="4008755"/>
                  <a:pt x="7251675" y="3089275"/>
                </a:cubicBezTo>
                <a:lnTo>
                  <a:pt x="609" y="3092450"/>
                </a:lnTo>
                <a:cubicBezTo>
                  <a:pt x="1032" y="2061633"/>
                  <a:pt x="1456" y="1030817"/>
                  <a:pt x="1879" y="0"/>
                </a:cubicBezTo>
                <a:close/>
              </a:path>
            </a:pathLst>
          </a:custGeom>
          <a:noFill/>
          <a:effectLst/>
        </p:spPr>
        <p:txBody>
          <a:bodyPr tIns="1692000"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800" b="0" baseline="0">
                <a:latin typeface="+mj-lt"/>
              </a:defRPr>
            </a:lvl1pPr>
          </a:lstStyle>
          <a:p>
            <a:r>
              <a:rPr lang="en-US" err="1"/>
              <a:t>Indsæt</a:t>
            </a:r>
            <a:r>
              <a:rPr lang="en-US"/>
              <a:t> </a:t>
            </a:r>
            <a:r>
              <a:rPr lang="en-US" err="1"/>
              <a:t>billiede</a:t>
            </a:r>
            <a:r>
              <a:rPr lang="en-US"/>
              <a:t>, </a:t>
            </a:r>
            <a:r>
              <a:rPr lang="en-US" err="1"/>
              <a:t>klik</a:t>
            </a:r>
            <a:r>
              <a:rPr lang="en-US"/>
              <a:t> her</a:t>
            </a:r>
          </a:p>
        </p:txBody>
      </p:sp>
      <p:grpSp>
        <p:nvGrpSpPr>
          <p:cNvPr id="10" name="Gruppe 9">
            <a:extLst>
              <a:ext uri="{FF2B5EF4-FFF2-40B4-BE49-F238E27FC236}">
                <a16:creationId xmlns:a16="http://schemas.microsoft.com/office/drawing/2014/main" id="{6A1B4D00-31DD-DC4B-AFF0-EF1A65F4B3C9}"/>
              </a:ext>
            </a:extLst>
          </p:cNvPr>
          <p:cNvGrpSpPr/>
          <p:nvPr userDrawn="1"/>
        </p:nvGrpSpPr>
        <p:grpSpPr>
          <a:xfrm rot="17162911" flipH="1">
            <a:off x="6421968" y="2335518"/>
            <a:ext cx="837630" cy="491500"/>
            <a:chOff x="3807407" y="1614978"/>
            <a:chExt cx="750355" cy="334433"/>
          </a:xfrm>
        </p:grpSpPr>
        <p:sp>
          <p:nvSpPr>
            <p:cNvPr id="11" name="Kombinationstegning 10">
              <a:extLst>
                <a:ext uri="{FF2B5EF4-FFF2-40B4-BE49-F238E27FC236}">
                  <a16:creationId xmlns:a16="http://schemas.microsoft.com/office/drawing/2014/main" id="{8133E8D6-A266-494A-9802-FFC988866083}"/>
                </a:ext>
              </a:extLst>
            </p:cNvPr>
            <p:cNvSpPr/>
            <p:nvPr/>
          </p:nvSpPr>
          <p:spPr>
            <a:xfrm>
              <a:off x="3807407" y="1651138"/>
              <a:ext cx="674427" cy="298273"/>
            </a:xfrm>
            <a:custGeom>
              <a:avLst/>
              <a:gdLst>
                <a:gd name="connsiteX0" fmla="*/ 161131 w 674427"/>
                <a:gd name="connsiteY0" fmla="*/ 238844 h 298273"/>
                <a:gd name="connsiteX1" fmla="*/ 163986 w 674427"/>
                <a:gd name="connsiteY1" fmla="*/ 237892 h 298273"/>
                <a:gd name="connsiteX2" fmla="*/ 136381 w 674427"/>
                <a:gd name="connsiteY2" fmla="*/ 250263 h 298273"/>
                <a:gd name="connsiteX3" fmla="*/ 194447 w 674427"/>
                <a:gd name="connsiteY3" fmla="*/ 220764 h 298273"/>
                <a:gd name="connsiteX4" fmla="*/ 218245 w 674427"/>
                <a:gd name="connsiteY4" fmla="*/ 216006 h 298273"/>
                <a:gd name="connsiteX5" fmla="*/ 229667 w 674427"/>
                <a:gd name="connsiteY5" fmla="*/ 208394 h 298273"/>
                <a:gd name="connsiteX6" fmla="*/ 222052 w 674427"/>
                <a:gd name="connsiteY6" fmla="*/ 213152 h 298273"/>
                <a:gd name="connsiteX7" fmla="*/ 229667 w 674427"/>
                <a:gd name="connsiteY7" fmla="*/ 208394 h 298273"/>
                <a:gd name="connsiteX8" fmla="*/ 313435 w 674427"/>
                <a:gd name="connsiteY8" fmla="*/ 169379 h 298273"/>
                <a:gd name="connsiteX9" fmla="*/ 392442 w 674427"/>
                <a:gd name="connsiteY9" fmla="*/ 137978 h 298273"/>
                <a:gd name="connsiteX10" fmla="*/ 400057 w 674427"/>
                <a:gd name="connsiteY10" fmla="*/ 135123 h 298273"/>
                <a:gd name="connsiteX11" fmla="*/ 391490 w 674427"/>
                <a:gd name="connsiteY11" fmla="*/ 137978 h 298273"/>
                <a:gd name="connsiteX12" fmla="*/ 418144 w 674427"/>
                <a:gd name="connsiteY12" fmla="*/ 121801 h 298273"/>
                <a:gd name="connsiteX13" fmla="*/ 411480 w 674427"/>
                <a:gd name="connsiteY13" fmla="*/ 121801 h 298273"/>
                <a:gd name="connsiteX14" fmla="*/ 416240 w 674427"/>
                <a:gd name="connsiteY14" fmla="*/ 119898 h 298273"/>
                <a:gd name="connsiteX15" fmla="*/ 433374 w 674427"/>
                <a:gd name="connsiteY15" fmla="*/ 109430 h 298273"/>
                <a:gd name="connsiteX16" fmla="*/ 440037 w 674427"/>
                <a:gd name="connsiteY16" fmla="*/ 108479 h 298273"/>
                <a:gd name="connsiteX17" fmla="*/ 438133 w 674427"/>
                <a:gd name="connsiteY17" fmla="*/ 108479 h 298273"/>
                <a:gd name="connsiteX18" fmla="*/ 474306 w 674427"/>
                <a:gd name="connsiteY18" fmla="*/ 92302 h 298273"/>
                <a:gd name="connsiteX19" fmla="*/ 478113 w 674427"/>
                <a:gd name="connsiteY19" fmla="*/ 91351 h 298273"/>
                <a:gd name="connsiteX20" fmla="*/ 488584 w 674427"/>
                <a:gd name="connsiteY20" fmla="*/ 86593 h 298273"/>
                <a:gd name="connsiteX21" fmla="*/ 493344 w 674427"/>
                <a:gd name="connsiteY21" fmla="*/ 87544 h 298273"/>
                <a:gd name="connsiteX22" fmla="*/ 515237 w 674427"/>
                <a:gd name="connsiteY22" fmla="*/ 76126 h 298273"/>
                <a:gd name="connsiteX23" fmla="*/ 555217 w 674427"/>
                <a:gd name="connsiteY23" fmla="*/ 58997 h 298273"/>
                <a:gd name="connsiteX24" fmla="*/ 596149 w 674427"/>
                <a:gd name="connsiteY24" fmla="*/ 40917 h 298273"/>
                <a:gd name="connsiteX25" fmla="*/ 595197 w 674427"/>
                <a:gd name="connsiteY25" fmla="*/ 40917 h 298273"/>
                <a:gd name="connsiteX26" fmla="*/ 624706 w 674427"/>
                <a:gd name="connsiteY26" fmla="*/ 27596 h 298273"/>
                <a:gd name="connsiteX27" fmla="*/ 646599 w 674427"/>
                <a:gd name="connsiteY27" fmla="*/ 14274 h 298273"/>
                <a:gd name="connsiteX28" fmla="*/ 669445 w 674427"/>
                <a:gd name="connsiteY28" fmla="*/ 4758 h 298273"/>
                <a:gd name="connsiteX29" fmla="*/ 673253 w 674427"/>
                <a:gd name="connsiteY29" fmla="*/ 0 h 298273"/>
                <a:gd name="connsiteX30" fmla="*/ 659926 w 674427"/>
                <a:gd name="connsiteY30" fmla="*/ 1903 h 298273"/>
                <a:gd name="connsiteX31" fmla="*/ 659926 w 674427"/>
                <a:gd name="connsiteY31" fmla="*/ 1903 h 298273"/>
                <a:gd name="connsiteX32" fmla="*/ 581870 w 674427"/>
                <a:gd name="connsiteY32" fmla="*/ 23789 h 298273"/>
                <a:gd name="connsiteX33" fmla="*/ 528564 w 674427"/>
                <a:gd name="connsiteY33" fmla="*/ 44724 h 298273"/>
                <a:gd name="connsiteX34" fmla="*/ 474306 w 674427"/>
                <a:gd name="connsiteY34" fmla="*/ 69465 h 298273"/>
                <a:gd name="connsiteX35" fmla="*/ 463835 w 674427"/>
                <a:gd name="connsiteY35" fmla="*/ 72319 h 298273"/>
                <a:gd name="connsiteX36" fmla="*/ 414336 w 674427"/>
                <a:gd name="connsiteY36" fmla="*/ 94205 h 298273"/>
                <a:gd name="connsiteX37" fmla="*/ 415288 w 674427"/>
                <a:gd name="connsiteY37" fmla="*/ 94205 h 298273"/>
                <a:gd name="connsiteX38" fmla="*/ 390538 w 674427"/>
                <a:gd name="connsiteY38" fmla="*/ 103721 h 298273"/>
                <a:gd name="connsiteX39" fmla="*/ 388635 w 674427"/>
                <a:gd name="connsiteY39" fmla="*/ 105624 h 298273"/>
                <a:gd name="connsiteX40" fmla="*/ 336280 w 674427"/>
                <a:gd name="connsiteY40" fmla="*/ 132268 h 298273"/>
                <a:gd name="connsiteX41" fmla="*/ 333424 w 674427"/>
                <a:gd name="connsiteY41" fmla="*/ 134171 h 298273"/>
                <a:gd name="connsiteX42" fmla="*/ 280118 w 674427"/>
                <a:gd name="connsiteY42" fmla="*/ 154154 h 298273"/>
                <a:gd name="connsiteX43" fmla="*/ 271551 w 674427"/>
                <a:gd name="connsiteY43" fmla="*/ 161767 h 298273"/>
                <a:gd name="connsiteX44" fmla="*/ 264888 w 674427"/>
                <a:gd name="connsiteY44" fmla="*/ 165573 h 298273"/>
                <a:gd name="connsiteX45" fmla="*/ 255369 w 674427"/>
                <a:gd name="connsiteY45" fmla="*/ 169379 h 298273"/>
                <a:gd name="connsiteX46" fmla="*/ 235379 w 674427"/>
                <a:gd name="connsiteY46" fmla="*/ 178895 h 298273"/>
                <a:gd name="connsiteX47" fmla="*/ 227764 w 674427"/>
                <a:gd name="connsiteY47" fmla="*/ 183653 h 298273"/>
                <a:gd name="connsiteX48" fmla="*/ 222052 w 674427"/>
                <a:gd name="connsiteY48" fmla="*/ 184604 h 298273"/>
                <a:gd name="connsiteX49" fmla="*/ 210629 w 674427"/>
                <a:gd name="connsiteY49" fmla="*/ 189362 h 298273"/>
                <a:gd name="connsiteX50" fmla="*/ 193495 w 674427"/>
                <a:gd name="connsiteY50" fmla="*/ 199829 h 298273"/>
                <a:gd name="connsiteX51" fmla="*/ 194447 w 674427"/>
                <a:gd name="connsiteY51" fmla="*/ 198878 h 298273"/>
                <a:gd name="connsiteX52" fmla="*/ 173505 w 674427"/>
                <a:gd name="connsiteY52" fmla="*/ 205539 h 298273"/>
                <a:gd name="connsiteX53" fmla="*/ 112584 w 674427"/>
                <a:gd name="connsiteY53" fmla="*/ 235038 h 298273"/>
                <a:gd name="connsiteX54" fmla="*/ 117343 w 674427"/>
                <a:gd name="connsiteY54" fmla="*/ 234086 h 298273"/>
                <a:gd name="connsiteX55" fmla="*/ 83075 w 674427"/>
                <a:gd name="connsiteY55" fmla="*/ 248360 h 298273"/>
                <a:gd name="connsiteX56" fmla="*/ 77363 w 674427"/>
                <a:gd name="connsiteY56" fmla="*/ 249311 h 298273"/>
                <a:gd name="connsiteX57" fmla="*/ 72604 w 674427"/>
                <a:gd name="connsiteY57" fmla="*/ 252166 h 298273"/>
                <a:gd name="connsiteX58" fmla="*/ 71652 w 674427"/>
                <a:gd name="connsiteY58" fmla="*/ 251214 h 298273"/>
                <a:gd name="connsiteX59" fmla="*/ 62133 w 674427"/>
                <a:gd name="connsiteY59" fmla="*/ 255021 h 298273"/>
                <a:gd name="connsiteX60" fmla="*/ 59277 w 674427"/>
                <a:gd name="connsiteY60" fmla="*/ 256924 h 298273"/>
                <a:gd name="connsiteX61" fmla="*/ 55470 w 674427"/>
                <a:gd name="connsiteY61" fmla="*/ 257875 h 298273"/>
                <a:gd name="connsiteX62" fmla="*/ 55470 w 674427"/>
                <a:gd name="connsiteY62" fmla="*/ 257875 h 298273"/>
                <a:gd name="connsiteX63" fmla="*/ 53566 w 674427"/>
                <a:gd name="connsiteY63" fmla="*/ 258827 h 298273"/>
                <a:gd name="connsiteX64" fmla="*/ 39287 w 674427"/>
                <a:gd name="connsiteY64" fmla="*/ 271197 h 298273"/>
                <a:gd name="connsiteX65" fmla="*/ 38335 w 674427"/>
                <a:gd name="connsiteY65" fmla="*/ 271197 h 298273"/>
                <a:gd name="connsiteX66" fmla="*/ 37384 w 674427"/>
                <a:gd name="connsiteY66" fmla="*/ 273100 h 298273"/>
                <a:gd name="connsiteX67" fmla="*/ 34528 w 674427"/>
                <a:gd name="connsiteY67" fmla="*/ 274052 h 298273"/>
                <a:gd name="connsiteX68" fmla="*/ 34528 w 674427"/>
                <a:gd name="connsiteY68" fmla="*/ 274052 h 298273"/>
                <a:gd name="connsiteX69" fmla="*/ 31672 w 674427"/>
                <a:gd name="connsiteY69" fmla="*/ 275004 h 298273"/>
                <a:gd name="connsiteX70" fmla="*/ 30720 w 674427"/>
                <a:gd name="connsiteY70" fmla="*/ 274052 h 298273"/>
                <a:gd name="connsiteX71" fmla="*/ 26913 w 674427"/>
                <a:gd name="connsiteY71" fmla="*/ 276907 h 298273"/>
                <a:gd name="connsiteX72" fmla="*/ 41191 w 674427"/>
                <a:gd name="connsiteY72" fmla="*/ 274052 h 298273"/>
                <a:gd name="connsiteX73" fmla="*/ 34528 w 674427"/>
                <a:gd name="connsiteY73" fmla="*/ 276907 h 298273"/>
                <a:gd name="connsiteX74" fmla="*/ 23105 w 674427"/>
                <a:gd name="connsiteY74" fmla="*/ 279761 h 298273"/>
                <a:gd name="connsiteX75" fmla="*/ 20249 w 674427"/>
                <a:gd name="connsiteY75" fmla="*/ 281664 h 298273"/>
                <a:gd name="connsiteX76" fmla="*/ 16442 w 674427"/>
                <a:gd name="connsiteY76" fmla="*/ 282616 h 298273"/>
                <a:gd name="connsiteX77" fmla="*/ 21201 w 674427"/>
                <a:gd name="connsiteY77" fmla="*/ 279761 h 298273"/>
                <a:gd name="connsiteX78" fmla="*/ 15490 w 674427"/>
                <a:gd name="connsiteY78" fmla="*/ 281664 h 298273"/>
                <a:gd name="connsiteX79" fmla="*/ 9778 w 674427"/>
                <a:gd name="connsiteY79" fmla="*/ 284519 h 298273"/>
                <a:gd name="connsiteX80" fmla="*/ 5971 w 674427"/>
                <a:gd name="connsiteY80" fmla="*/ 284519 h 298273"/>
                <a:gd name="connsiteX81" fmla="*/ 5019 w 674427"/>
                <a:gd name="connsiteY81" fmla="*/ 286422 h 298273"/>
                <a:gd name="connsiteX82" fmla="*/ 9778 w 674427"/>
                <a:gd name="connsiteY82" fmla="*/ 286422 h 298273"/>
                <a:gd name="connsiteX83" fmla="*/ 5019 w 674427"/>
                <a:gd name="connsiteY83" fmla="*/ 288325 h 298273"/>
                <a:gd name="connsiteX84" fmla="*/ 5971 w 674427"/>
                <a:gd name="connsiteY84" fmla="*/ 289277 h 298273"/>
                <a:gd name="connsiteX85" fmla="*/ 1211 w 674427"/>
                <a:gd name="connsiteY85" fmla="*/ 291180 h 298273"/>
                <a:gd name="connsiteX86" fmla="*/ 2163 w 674427"/>
                <a:gd name="connsiteY86" fmla="*/ 290229 h 298273"/>
                <a:gd name="connsiteX87" fmla="*/ 8827 w 674427"/>
                <a:gd name="connsiteY87" fmla="*/ 281664 h 298273"/>
                <a:gd name="connsiteX88" fmla="*/ 259 w 674427"/>
                <a:gd name="connsiteY88" fmla="*/ 291180 h 298273"/>
                <a:gd name="connsiteX89" fmla="*/ 1211 w 674427"/>
                <a:gd name="connsiteY89" fmla="*/ 292132 h 298273"/>
                <a:gd name="connsiteX90" fmla="*/ 2163 w 674427"/>
                <a:gd name="connsiteY90" fmla="*/ 290229 h 298273"/>
                <a:gd name="connsiteX91" fmla="*/ 5019 w 674427"/>
                <a:gd name="connsiteY91" fmla="*/ 291180 h 298273"/>
                <a:gd name="connsiteX92" fmla="*/ 8827 w 674427"/>
                <a:gd name="connsiteY92" fmla="*/ 284519 h 298273"/>
                <a:gd name="connsiteX93" fmla="*/ 9778 w 674427"/>
                <a:gd name="connsiteY93" fmla="*/ 284519 h 298273"/>
                <a:gd name="connsiteX94" fmla="*/ 5019 w 674427"/>
                <a:gd name="connsiteY94" fmla="*/ 287374 h 298273"/>
                <a:gd name="connsiteX95" fmla="*/ 3115 w 674427"/>
                <a:gd name="connsiteY95" fmla="*/ 290229 h 298273"/>
                <a:gd name="connsiteX96" fmla="*/ 2163 w 674427"/>
                <a:gd name="connsiteY96" fmla="*/ 290229 h 298273"/>
                <a:gd name="connsiteX97" fmla="*/ 259 w 674427"/>
                <a:gd name="connsiteY97" fmla="*/ 292132 h 298273"/>
                <a:gd name="connsiteX98" fmla="*/ 5971 w 674427"/>
                <a:gd name="connsiteY98" fmla="*/ 297841 h 298273"/>
                <a:gd name="connsiteX99" fmla="*/ 9778 w 674427"/>
                <a:gd name="connsiteY99" fmla="*/ 294035 h 298273"/>
                <a:gd name="connsiteX100" fmla="*/ 14538 w 674427"/>
                <a:gd name="connsiteY100" fmla="*/ 294035 h 298273"/>
                <a:gd name="connsiteX101" fmla="*/ 15490 w 674427"/>
                <a:gd name="connsiteY101" fmla="*/ 292132 h 298273"/>
                <a:gd name="connsiteX102" fmla="*/ 19297 w 674427"/>
                <a:gd name="connsiteY102" fmla="*/ 292132 h 298273"/>
                <a:gd name="connsiteX103" fmla="*/ 24057 w 674427"/>
                <a:gd name="connsiteY103" fmla="*/ 290229 h 298273"/>
                <a:gd name="connsiteX104" fmla="*/ 25009 w 674427"/>
                <a:gd name="connsiteY104" fmla="*/ 289277 h 298273"/>
                <a:gd name="connsiteX105" fmla="*/ 32624 w 674427"/>
                <a:gd name="connsiteY105" fmla="*/ 285471 h 298273"/>
                <a:gd name="connsiteX106" fmla="*/ 35480 w 674427"/>
                <a:gd name="connsiteY106" fmla="*/ 288325 h 298273"/>
                <a:gd name="connsiteX107" fmla="*/ 32624 w 674427"/>
                <a:gd name="connsiteY107" fmla="*/ 288325 h 298273"/>
                <a:gd name="connsiteX108" fmla="*/ 29768 w 674427"/>
                <a:gd name="connsiteY108" fmla="*/ 292132 h 298273"/>
                <a:gd name="connsiteX109" fmla="*/ 35480 w 674427"/>
                <a:gd name="connsiteY109" fmla="*/ 290229 h 298273"/>
                <a:gd name="connsiteX110" fmla="*/ 34528 w 674427"/>
                <a:gd name="connsiteY110" fmla="*/ 290229 h 298273"/>
                <a:gd name="connsiteX111" fmla="*/ 42143 w 674427"/>
                <a:gd name="connsiteY111" fmla="*/ 286422 h 298273"/>
                <a:gd name="connsiteX112" fmla="*/ 42143 w 674427"/>
                <a:gd name="connsiteY112" fmla="*/ 288325 h 298273"/>
                <a:gd name="connsiteX113" fmla="*/ 44999 w 674427"/>
                <a:gd name="connsiteY113" fmla="*/ 287374 h 298273"/>
                <a:gd name="connsiteX114" fmla="*/ 44999 w 674427"/>
                <a:gd name="connsiteY114" fmla="*/ 287374 h 298273"/>
                <a:gd name="connsiteX115" fmla="*/ 48806 w 674427"/>
                <a:gd name="connsiteY115" fmla="*/ 285471 h 298273"/>
                <a:gd name="connsiteX116" fmla="*/ 61181 w 674427"/>
                <a:gd name="connsiteY116" fmla="*/ 276907 h 298273"/>
                <a:gd name="connsiteX117" fmla="*/ 64989 w 674427"/>
                <a:gd name="connsiteY117" fmla="*/ 275004 h 298273"/>
                <a:gd name="connsiteX118" fmla="*/ 50710 w 674427"/>
                <a:gd name="connsiteY118" fmla="*/ 284519 h 298273"/>
                <a:gd name="connsiteX119" fmla="*/ 71652 w 674427"/>
                <a:gd name="connsiteY119" fmla="*/ 272149 h 298273"/>
                <a:gd name="connsiteX120" fmla="*/ 73556 w 674427"/>
                <a:gd name="connsiteY120" fmla="*/ 270246 h 298273"/>
                <a:gd name="connsiteX121" fmla="*/ 75460 w 674427"/>
                <a:gd name="connsiteY121" fmla="*/ 271197 h 298273"/>
                <a:gd name="connsiteX122" fmla="*/ 75460 w 674427"/>
                <a:gd name="connsiteY122" fmla="*/ 271197 h 298273"/>
                <a:gd name="connsiteX123" fmla="*/ 77363 w 674427"/>
                <a:gd name="connsiteY123" fmla="*/ 271197 h 298273"/>
                <a:gd name="connsiteX124" fmla="*/ 89738 w 674427"/>
                <a:gd name="connsiteY124" fmla="*/ 264536 h 298273"/>
                <a:gd name="connsiteX125" fmla="*/ 85930 w 674427"/>
                <a:gd name="connsiteY125" fmla="*/ 269294 h 298273"/>
                <a:gd name="connsiteX126" fmla="*/ 84979 w 674427"/>
                <a:gd name="connsiteY126" fmla="*/ 269294 h 298273"/>
                <a:gd name="connsiteX127" fmla="*/ 83075 w 674427"/>
                <a:gd name="connsiteY127" fmla="*/ 271197 h 298273"/>
                <a:gd name="connsiteX128" fmla="*/ 89738 w 674427"/>
                <a:gd name="connsiteY128" fmla="*/ 267391 h 298273"/>
                <a:gd name="connsiteX129" fmla="*/ 91642 w 674427"/>
                <a:gd name="connsiteY129" fmla="*/ 267391 h 298273"/>
                <a:gd name="connsiteX130" fmla="*/ 91642 w 674427"/>
                <a:gd name="connsiteY130" fmla="*/ 267391 h 298273"/>
                <a:gd name="connsiteX131" fmla="*/ 92594 w 674427"/>
                <a:gd name="connsiteY131" fmla="*/ 268343 h 298273"/>
                <a:gd name="connsiteX132" fmla="*/ 92594 w 674427"/>
                <a:gd name="connsiteY132" fmla="*/ 268343 h 298273"/>
                <a:gd name="connsiteX133" fmla="*/ 105920 w 674427"/>
                <a:gd name="connsiteY133" fmla="*/ 261681 h 298273"/>
                <a:gd name="connsiteX134" fmla="*/ 106872 w 674427"/>
                <a:gd name="connsiteY134" fmla="*/ 259778 h 298273"/>
                <a:gd name="connsiteX135" fmla="*/ 119247 w 674427"/>
                <a:gd name="connsiteY135" fmla="*/ 255972 h 298273"/>
                <a:gd name="connsiteX136" fmla="*/ 118295 w 674427"/>
                <a:gd name="connsiteY136" fmla="*/ 254069 h 298273"/>
                <a:gd name="connsiteX137" fmla="*/ 122103 w 674427"/>
                <a:gd name="connsiteY137" fmla="*/ 253117 h 298273"/>
                <a:gd name="connsiteX138" fmla="*/ 126862 w 674427"/>
                <a:gd name="connsiteY138" fmla="*/ 255972 h 298273"/>
                <a:gd name="connsiteX139" fmla="*/ 131622 w 674427"/>
                <a:gd name="connsiteY139" fmla="*/ 254069 h 298273"/>
                <a:gd name="connsiteX140" fmla="*/ 133525 w 674427"/>
                <a:gd name="connsiteY140" fmla="*/ 251214 h 298273"/>
                <a:gd name="connsiteX141" fmla="*/ 139237 w 674427"/>
                <a:gd name="connsiteY141" fmla="*/ 249311 h 298273"/>
                <a:gd name="connsiteX142" fmla="*/ 140189 w 674427"/>
                <a:gd name="connsiteY142" fmla="*/ 251214 h 298273"/>
                <a:gd name="connsiteX143" fmla="*/ 148756 w 674427"/>
                <a:gd name="connsiteY143" fmla="*/ 248360 h 298273"/>
                <a:gd name="connsiteX144" fmla="*/ 155419 w 674427"/>
                <a:gd name="connsiteY144" fmla="*/ 243602 h 298273"/>
                <a:gd name="connsiteX145" fmla="*/ 161131 w 674427"/>
                <a:gd name="connsiteY145" fmla="*/ 238844 h 298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674427" h="298273">
                  <a:moveTo>
                    <a:pt x="161131" y="238844"/>
                  </a:moveTo>
                  <a:lnTo>
                    <a:pt x="163986" y="237892"/>
                  </a:lnTo>
                  <a:cubicBezTo>
                    <a:pt x="155419" y="242650"/>
                    <a:pt x="145900" y="246456"/>
                    <a:pt x="136381" y="250263"/>
                  </a:cubicBezTo>
                  <a:cubicBezTo>
                    <a:pt x="158275" y="244553"/>
                    <a:pt x="183024" y="236941"/>
                    <a:pt x="194447" y="220764"/>
                  </a:cubicBezTo>
                  <a:cubicBezTo>
                    <a:pt x="198255" y="224570"/>
                    <a:pt x="218245" y="216958"/>
                    <a:pt x="218245" y="216006"/>
                  </a:cubicBezTo>
                  <a:cubicBezTo>
                    <a:pt x="222052" y="213152"/>
                    <a:pt x="225860" y="210297"/>
                    <a:pt x="229667" y="208394"/>
                  </a:cubicBezTo>
                  <a:cubicBezTo>
                    <a:pt x="226812" y="210297"/>
                    <a:pt x="224908" y="212200"/>
                    <a:pt x="222052" y="213152"/>
                  </a:cubicBezTo>
                  <a:cubicBezTo>
                    <a:pt x="224908" y="211248"/>
                    <a:pt x="227764" y="209345"/>
                    <a:pt x="229667" y="208394"/>
                  </a:cubicBezTo>
                  <a:cubicBezTo>
                    <a:pt x="254417" y="192217"/>
                    <a:pt x="282974" y="180798"/>
                    <a:pt x="313435" y="169379"/>
                  </a:cubicBezTo>
                  <a:cubicBezTo>
                    <a:pt x="329617" y="162718"/>
                    <a:pt x="374356" y="143687"/>
                    <a:pt x="392442" y="137978"/>
                  </a:cubicBezTo>
                  <a:lnTo>
                    <a:pt x="400057" y="135123"/>
                  </a:lnTo>
                  <a:cubicBezTo>
                    <a:pt x="396250" y="136074"/>
                    <a:pt x="396250" y="136074"/>
                    <a:pt x="391490" y="137978"/>
                  </a:cubicBezTo>
                  <a:cubicBezTo>
                    <a:pt x="401009" y="132268"/>
                    <a:pt x="409576" y="126559"/>
                    <a:pt x="418144" y="121801"/>
                  </a:cubicBezTo>
                  <a:cubicBezTo>
                    <a:pt x="416240" y="121801"/>
                    <a:pt x="415288" y="120849"/>
                    <a:pt x="411480" y="121801"/>
                  </a:cubicBezTo>
                  <a:lnTo>
                    <a:pt x="416240" y="119898"/>
                  </a:lnTo>
                  <a:cubicBezTo>
                    <a:pt x="419095" y="116092"/>
                    <a:pt x="429566" y="112285"/>
                    <a:pt x="433374" y="109430"/>
                  </a:cubicBezTo>
                  <a:cubicBezTo>
                    <a:pt x="432422" y="111334"/>
                    <a:pt x="436230" y="109430"/>
                    <a:pt x="440037" y="108479"/>
                  </a:cubicBezTo>
                  <a:lnTo>
                    <a:pt x="438133" y="108479"/>
                  </a:lnTo>
                  <a:cubicBezTo>
                    <a:pt x="450508" y="103721"/>
                    <a:pt x="463835" y="97060"/>
                    <a:pt x="474306" y="92302"/>
                  </a:cubicBezTo>
                  <a:cubicBezTo>
                    <a:pt x="476209" y="91351"/>
                    <a:pt x="477161" y="91351"/>
                    <a:pt x="478113" y="91351"/>
                  </a:cubicBezTo>
                  <a:lnTo>
                    <a:pt x="488584" y="86593"/>
                  </a:lnTo>
                  <a:cubicBezTo>
                    <a:pt x="488584" y="88496"/>
                    <a:pt x="498103" y="84690"/>
                    <a:pt x="493344" y="87544"/>
                  </a:cubicBezTo>
                  <a:cubicBezTo>
                    <a:pt x="500007" y="82787"/>
                    <a:pt x="508574" y="80883"/>
                    <a:pt x="515237" y="76126"/>
                  </a:cubicBezTo>
                  <a:cubicBezTo>
                    <a:pt x="528564" y="70416"/>
                    <a:pt x="541891" y="64707"/>
                    <a:pt x="555217" y="58997"/>
                  </a:cubicBezTo>
                  <a:cubicBezTo>
                    <a:pt x="568544" y="53288"/>
                    <a:pt x="582822" y="47578"/>
                    <a:pt x="596149" y="40917"/>
                  </a:cubicBezTo>
                  <a:lnTo>
                    <a:pt x="595197" y="40917"/>
                  </a:lnTo>
                  <a:cubicBezTo>
                    <a:pt x="604716" y="36160"/>
                    <a:pt x="612331" y="31402"/>
                    <a:pt x="624706" y="27596"/>
                  </a:cubicBezTo>
                  <a:cubicBezTo>
                    <a:pt x="632321" y="22838"/>
                    <a:pt x="644696" y="18080"/>
                    <a:pt x="646599" y="14274"/>
                  </a:cubicBezTo>
                  <a:cubicBezTo>
                    <a:pt x="656118" y="10467"/>
                    <a:pt x="659926" y="8564"/>
                    <a:pt x="669445" y="4758"/>
                  </a:cubicBezTo>
                  <a:cubicBezTo>
                    <a:pt x="666589" y="3806"/>
                    <a:pt x="678012" y="0"/>
                    <a:pt x="673253" y="0"/>
                  </a:cubicBezTo>
                  <a:cubicBezTo>
                    <a:pt x="666589" y="0"/>
                    <a:pt x="666589" y="1903"/>
                    <a:pt x="659926" y="1903"/>
                  </a:cubicBezTo>
                  <a:lnTo>
                    <a:pt x="659926" y="1903"/>
                  </a:lnTo>
                  <a:cubicBezTo>
                    <a:pt x="633273" y="7613"/>
                    <a:pt x="607572" y="15225"/>
                    <a:pt x="581870" y="23789"/>
                  </a:cubicBezTo>
                  <a:cubicBezTo>
                    <a:pt x="565688" y="31402"/>
                    <a:pt x="546650" y="37111"/>
                    <a:pt x="528564" y="44724"/>
                  </a:cubicBezTo>
                  <a:cubicBezTo>
                    <a:pt x="509526" y="52336"/>
                    <a:pt x="489536" y="61852"/>
                    <a:pt x="474306" y="69465"/>
                  </a:cubicBezTo>
                  <a:cubicBezTo>
                    <a:pt x="470498" y="71368"/>
                    <a:pt x="467642" y="71368"/>
                    <a:pt x="463835" y="72319"/>
                  </a:cubicBezTo>
                  <a:cubicBezTo>
                    <a:pt x="449556" y="78980"/>
                    <a:pt x="430518" y="86593"/>
                    <a:pt x="414336" y="94205"/>
                  </a:cubicBezTo>
                  <a:lnTo>
                    <a:pt x="415288" y="94205"/>
                  </a:lnTo>
                  <a:cubicBezTo>
                    <a:pt x="406721" y="98012"/>
                    <a:pt x="399106" y="99915"/>
                    <a:pt x="390538" y="103721"/>
                  </a:cubicBezTo>
                  <a:cubicBezTo>
                    <a:pt x="390538" y="103721"/>
                    <a:pt x="389587" y="104673"/>
                    <a:pt x="388635" y="105624"/>
                  </a:cubicBezTo>
                  <a:cubicBezTo>
                    <a:pt x="386731" y="104673"/>
                    <a:pt x="340088" y="132268"/>
                    <a:pt x="336280" y="132268"/>
                  </a:cubicBezTo>
                  <a:lnTo>
                    <a:pt x="333424" y="134171"/>
                  </a:lnTo>
                  <a:cubicBezTo>
                    <a:pt x="315338" y="141784"/>
                    <a:pt x="295348" y="146542"/>
                    <a:pt x="280118" y="154154"/>
                  </a:cubicBezTo>
                  <a:cubicBezTo>
                    <a:pt x="277262" y="157009"/>
                    <a:pt x="273455" y="158912"/>
                    <a:pt x="271551" y="161767"/>
                  </a:cubicBezTo>
                  <a:cubicBezTo>
                    <a:pt x="268695" y="161767"/>
                    <a:pt x="268695" y="163670"/>
                    <a:pt x="264888" y="165573"/>
                  </a:cubicBezTo>
                  <a:cubicBezTo>
                    <a:pt x="254417" y="165573"/>
                    <a:pt x="250609" y="169379"/>
                    <a:pt x="255369" y="169379"/>
                  </a:cubicBezTo>
                  <a:cubicBezTo>
                    <a:pt x="248705" y="173186"/>
                    <a:pt x="242042" y="176040"/>
                    <a:pt x="235379" y="178895"/>
                  </a:cubicBezTo>
                  <a:cubicBezTo>
                    <a:pt x="232523" y="180798"/>
                    <a:pt x="229667" y="181750"/>
                    <a:pt x="227764" y="183653"/>
                  </a:cubicBezTo>
                  <a:cubicBezTo>
                    <a:pt x="225860" y="185556"/>
                    <a:pt x="223956" y="185556"/>
                    <a:pt x="222052" y="184604"/>
                  </a:cubicBezTo>
                  <a:cubicBezTo>
                    <a:pt x="216341" y="188411"/>
                    <a:pt x="217293" y="186508"/>
                    <a:pt x="210629" y="189362"/>
                  </a:cubicBezTo>
                  <a:cubicBezTo>
                    <a:pt x="208726" y="188411"/>
                    <a:pt x="195399" y="198878"/>
                    <a:pt x="193495" y="199829"/>
                  </a:cubicBezTo>
                  <a:lnTo>
                    <a:pt x="194447" y="198878"/>
                  </a:lnTo>
                  <a:cubicBezTo>
                    <a:pt x="186832" y="202684"/>
                    <a:pt x="181120" y="201733"/>
                    <a:pt x="173505" y="205539"/>
                  </a:cubicBezTo>
                  <a:cubicBezTo>
                    <a:pt x="152563" y="214103"/>
                    <a:pt x="131622" y="225522"/>
                    <a:pt x="112584" y="235038"/>
                  </a:cubicBezTo>
                  <a:cubicBezTo>
                    <a:pt x="112584" y="235989"/>
                    <a:pt x="116391" y="233134"/>
                    <a:pt x="117343" y="234086"/>
                  </a:cubicBezTo>
                  <a:cubicBezTo>
                    <a:pt x="105920" y="238844"/>
                    <a:pt x="94498" y="242650"/>
                    <a:pt x="83075" y="248360"/>
                  </a:cubicBezTo>
                  <a:cubicBezTo>
                    <a:pt x="81171" y="249311"/>
                    <a:pt x="78315" y="249311"/>
                    <a:pt x="77363" y="249311"/>
                  </a:cubicBezTo>
                  <a:cubicBezTo>
                    <a:pt x="73556" y="250263"/>
                    <a:pt x="75460" y="251214"/>
                    <a:pt x="72604" y="252166"/>
                  </a:cubicBezTo>
                  <a:lnTo>
                    <a:pt x="71652" y="251214"/>
                  </a:lnTo>
                  <a:cubicBezTo>
                    <a:pt x="68796" y="254069"/>
                    <a:pt x="64989" y="252166"/>
                    <a:pt x="62133" y="255021"/>
                  </a:cubicBezTo>
                  <a:cubicBezTo>
                    <a:pt x="62133" y="255972"/>
                    <a:pt x="61181" y="255972"/>
                    <a:pt x="59277" y="256924"/>
                  </a:cubicBezTo>
                  <a:cubicBezTo>
                    <a:pt x="58325" y="255972"/>
                    <a:pt x="55470" y="258827"/>
                    <a:pt x="55470" y="257875"/>
                  </a:cubicBezTo>
                  <a:lnTo>
                    <a:pt x="55470" y="257875"/>
                  </a:lnTo>
                  <a:cubicBezTo>
                    <a:pt x="54518" y="257875"/>
                    <a:pt x="54518" y="258827"/>
                    <a:pt x="53566" y="258827"/>
                  </a:cubicBezTo>
                  <a:cubicBezTo>
                    <a:pt x="52614" y="259778"/>
                    <a:pt x="40239" y="270246"/>
                    <a:pt x="39287" y="271197"/>
                  </a:cubicBezTo>
                  <a:lnTo>
                    <a:pt x="38335" y="271197"/>
                  </a:lnTo>
                  <a:cubicBezTo>
                    <a:pt x="36432" y="272149"/>
                    <a:pt x="35480" y="274052"/>
                    <a:pt x="37384" y="273100"/>
                  </a:cubicBezTo>
                  <a:lnTo>
                    <a:pt x="34528" y="274052"/>
                  </a:lnTo>
                  <a:lnTo>
                    <a:pt x="34528" y="274052"/>
                  </a:lnTo>
                  <a:lnTo>
                    <a:pt x="31672" y="275004"/>
                  </a:lnTo>
                  <a:cubicBezTo>
                    <a:pt x="30720" y="275004"/>
                    <a:pt x="30720" y="275004"/>
                    <a:pt x="30720" y="274052"/>
                  </a:cubicBezTo>
                  <a:cubicBezTo>
                    <a:pt x="29768" y="275004"/>
                    <a:pt x="27865" y="275955"/>
                    <a:pt x="26913" y="276907"/>
                  </a:cubicBezTo>
                  <a:cubicBezTo>
                    <a:pt x="31672" y="275955"/>
                    <a:pt x="36432" y="274052"/>
                    <a:pt x="41191" y="274052"/>
                  </a:cubicBezTo>
                  <a:cubicBezTo>
                    <a:pt x="39287" y="275004"/>
                    <a:pt x="36432" y="275955"/>
                    <a:pt x="34528" y="276907"/>
                  </a:cubicBezTo>
                  <a:cubicBezTo>
                    <a:pt x="31672" y="276907"/>
                    <a:pt x="26913" y="278810"/>
                    <a:pt x="23105" y="279761"/>
                  </a:cubicBezTo>
                  <a:cubicBezTo>
                    <a:pt x="22153" y="279761"/>
                    <a:pt x="22153" y="281664"/>
                    <a:pt x="20249" y="281664"/>
                  </a:cubicBezTo>
                  <a:cubicBezTo>
                    <a:pt x="19297" y="280713"/>
                    <a:pt x="18346" y="282616"/>
                    <a:pt x="16442" y="282616"/>
                  </a:cubicBezTo>
                  <a:cubicBezTo>
                    <a:pt x="17394" y="281664"/>
                    <a:pt x="19297" y="280713"/>
                    <a:pt x="21201" y="279761"/>
                  </a:cubicBezTo>
                  <a:cubicBezTo>
                    <a:pt x="20249" y="278810"/>
                    <a:pt x="16442" y="280713"/>
                    <a:pt x="15490" y="281664"/>
                  </a:cubicBezTo>
                  <a:cubicBezTo>
                    <a:pt x="15490" y="282616"/>
                    <a:pt x="11682" y="283568"/>
                    <a:pt x="9778" y="284519"/>
                  </a:cubicBezTo>
                  <a:cubicBezTo>
                    <a:pt x="9778" y="282616"/>
                    <a:pt x="7875" y="284519"/>
                    <a:pt x="5971" y="284519"/>
                  </a:cubicBezTo>
                  <a:cubicBezTo>
                    <a:pt x="4067" y="285471"/>
                    <a:pt x="4067" y="285471"/>
                    <a:pt x="5019" y="286422"/>
                  </a:cubicBezTo>
                  <a:cubicBezTo>
                    <a:pt x="5019" y="288325"/>
                    <a:pt x="10730" y="284519"/>
                    <a:pt x="9778" y="286422"/>
                  </a:cubicBezTo>
                  <a:cubicBezTo>
                    <a:pt x="8827" y="286422"/>
                    <a:pt x="5971" y="287374"/>
                    <a:pt x="5019" y="288325"/>
                  </a:cubicBezTo>
                  <a:cubicBezTo>
                    <a:pt x="5019" y="289277"/>
                    <a:pt x="5971" y="288325"/>
                    <a:pt x="5971" y="289277"/>
                  </a:cubicBezTo>
                  <a:cubicBezTo>
                    <a:pt x="4067" y="290229"/>
                    <a:pt x="3115" y="291180"/>
                    <a:pt x="1211" y="291180"/>
                  </a:cubicBezTo>
                  <a:lnTo>
                    <a:pt x="2163" y="290229"/>
                  </a:lnTo>
                  <a:cubicBezTo>
                    <a:pt x="259" y="291180"/>
                    <a:pt x="11682" y="280713"/>
                    <a:pt x="8827" y="281664"/>
                  </a:cubicBezTo>
                  <a:cubicBezTo>
                    <a:pt x="9778" y="281664"/>
                    <a:pt x="-1644" y="291180"/>
                    <a:pt x="259" y="291180"/>
                  </a:cubicBezTo>
                  <a:cubicBezTo>
                    <a:pt x="2163" y="291180"/>
                    <a:pt x="259" y="293083"/>
                    <a:pt x="1211" y="292132"/>
                  </a:cubicBezTo>
                  <a:lnTo>
                    <a:pt x="2163" y="290229"/>
                  </a:lnTo>
                  <a:cubicBezTo>
                    <a:pt x="4067" y="289277"/>
                    <a:pt x="5019" y="290229"/>
                    <a:pt x="5019" y="291180"/>
                  </a:cubicBezTo>
                  <a:cubicBezTo>
                    <a:pt x="2163" y="292132"/>
                    <a:pt x="11682" y="282616"/>
                    <a:pt x="8827" y="284519"/>
                  </a:cubicBezTo>
                  <a:lnTo>
                    <a:pt x="9778" y="284519"/>
                  </a:lnTo>
                  <a:cubicBezTo>
                    <a:pt x="8827" y="285471"/>
                    <a:pt x="5971" y="287374"/>
                    <a:pt x="5019" y="287374"/>
                  </a:cubicBezTo>
                  <a:cubicBezTo>
                    <a:pt x="5019" y="288325"/>
                    <a:pt x="4067" y="289277"/>
                    <a:pt x="3115" y="290229"/>
                  </a:cubicBezTo>
                  <a:lnTo>
                    <a:pt x="2163" y="290229"/>
                  </a:lnTo>
                  <a:cubicBezTo>
                    <a:pt x="1211" y="291180"/>
                    <a:pt x="-692" y="292132"/>
                    <a:pt x="259" y="292132"/>
                  </a:cubicBezTo>
                  <a:cubicBezTo>
                    <a:pt x="7875" y="288325"/>
                    <a:pt x="-1644" y="300696"/>
                    <a:pt x="5971" y="297841"/>
                  </a:cubicBezTo>
                  <a:cubicBezTo>
                    <a:pt x="2163" y="297841"/>
                    <a:pt x="5971" y="295938"/>
                    <a:pt x="9778" y="294035"/>
                  </a:cubicBezTo>
                  <a:cubicBezTo>
                    <a:pt x="10730" y="294035"/>
                    <a:pt x="11682" y="294035"/>
                    <a:pt x="14538" y="294035"/>
                  </a:cubicBezTo>
                  <a:cubicBezTo>
                    <a:pt x="16442" y="293083"/>
                    <a:pt x="15490" y="293083"/>
                    <a:pt x="15490" y="292132"/>
                  </a:cubicBezTo>
                  <a:cubicBezTo>
                    <a:pt x="16442" y="292132"/>
                    <a:pt x="19297" y="291180"/>
                    <a:pt x="19297" y="292132"/>
                  </a:cubicBezTo>
                  <a:cubicBezTo>
                    <a:pt x="20249" y="290229"/>
                    <a:pt x="22153" y="291180"/>
                    <a:pt x="24057" y="290229"/>
                  </a:cubicBezTo>
                  <a:cubicBezTo>
                    <a:pt x="25961" y="289277"/>
                    <a:pt x="24057" y="290229"/>
                    <a:pt x="25009" y="289277"/>
                  </a:cubicBezTo>
                  <a:cubicBezTo>
                    <a:pt x="27865" y="288325"/>
                    <a:pt x="30720" y="286422"/>
                    <a:pt x="32624" y="285471"/>
                  </a:cubicBezTo>
                  <a:cubicBezTo>
                    <a:pt x="33576" y="285471"/>
                    <a:pt x="36432" y="285471"/>
                    <a:pt x="35480" y="288325"/>
                  </a:cubicBezTo>
                  <a:cubicBezTo>
                    <a:pt x="31672" y="290229"/>
                    <a:pt x="36432" y="285471"/>
                    <a:pt x="32624" y="288325"/>
                  </a:cubicBezTo>
                  <a:cubicBezTo>
                    <a:pt x="35480" y="289277"/>
                    <a:pt x="29768" y="290229"/>
                    <a:pt x="29768" y="292132"/>
                  </a:cubicBezTo>
                  <a:cubicBezTo>
                    <a:pt x="31672" y="292132"/>
                    <a:pt x="33576" y="291180"/>
                    <a:pt x="35480" y="290229"/>
                  </a:cubicBezTo>
                  <a:lnTo>
                    <a:pt x="34528" y="290229"/>
                  </a:lnTo>
                  <a:cubicBezTo>
                    <a:pt x="36432" y="289277"/>
                    <a:pt x="40239" y="287374"/>
                    <a:pt x="42143" y="286422"/>
                  </a:cubicBezTo>
                  <a:cubicBezTo>
                    <a:pt x="42143" y="287374"/>
                    <a:pt x="43095" y="287374"/>
                    <a:pt x="42143" y="288325"/>
                  </a:cubicBezTo>
                  <a:lnTo>
                    <a:pt x="44999" y="287374"/>
                  </a:lnTo>
                  <a:cubicBezTo>
                    <a:pt x="44999" y="287374"/>
                    <a:pt x="44999" y="286422"/>
                    <a:pt x="44999" y="287374"/>
                  </a:cubicBezTo>
                  <a:cubicBezTo>
                    <a:pt x="45951" y="286422"/>
                    <a:pt x="46903" y="286422"/>
                    <a:pt x="48806" y="285471"/>
                  </a:cubicBezTo>
                  <a:cubicBezTo>
                    <a:pt x="49758" y="285471"/>
                    <a:pt x="61181" y="275955"/>
                    <a:pt x="61181" y="276907"/>
                  </a:cubicBezTo>
                  <a:cubicBezTo>
                    <a:pt x="63085" y="275955"/>
                    <a:pt x="64037" y="276907"/>
                    <a:pt x="64989" y="275004"/>
                  </a:cubicBezTo>
                  <a:cubicBezTo>
                    <a:pt x="64989" y="274052"/>
                    <a:pt x="48806" y="285471"/>
                    <a:pt x="50710" y="284519"/>
                  </a:cubicBezTo>
                  <a:cubicBezTo>
                    <a:pt x="52614" y="284519"/>
                    <a:pt x="69748" y="271197"/>
                    <a:pt x="71652" y="272149"/>
                  </a:cubicBezTo>
                  <a:cubicBezTo>
                    <a:pt x="72604" y="271197"/>
                    <a:pt x="74508" y="270246"/>
                    <a:pt x="73556" y="270246"/>
                  </a:cubicBezTo>
                  <a:cubicBezTo>
                    <a:pt x="76411" y="269294"/>
                    <a:pt x="73556" y="272149"/>
                    <a:pt x="75460" y="271197"/>
                  </a:cubicBezTo>
                  <a:lnTo>
                    <a:pt x="75460" y="271197"/>
                  </a:lnTo>
                  <a:lnTo>
                    <a:pt x="77363" y="271197"/>
                  </a:lnTo>
                  <a:cubicBezTo>
                    <a:pt x="80219" y="268343"/>
                    <a:pt x="85930" y="267391"/>
                    <a:pt x="89738" y="264536"/>
                  </a:cubicBezTo>
                  <a:cubicBezTo>
                    <a:pt x="88786" y="265488"/>
                    <a:pt x="88786" y="267391"/>
                    <a:pt x="85930" y="269294"/>
                  </a:cubicBezTo>
                  <a:lnTo>
                    <a:pt x="84979" y="269294"/>
                  </a:lnTo>
                  <a:lnTo>
                    <a:pt x="83075" y="271197"/>
                  </a:lnTo>
                  <a:cubicBezTo>
                    <a:pt x="85930" y="270246"/>
                    <a:pt x="87834" y="269294"/>
                    <a:pt x="89738" y="267391"/>
                  </a:cubicBezTo>
                  <a:cubicBezTo>
                    <a:pt x="90690" y="267391"/>
                    <a:pt x="90690" y="267391"/>
                    <a:pt x="91642" y="267391"/>
                  </a:cubicBezTo>
                  <a:lnTo>
                    <a:pt x="91642" y="267391"/>
                  </a:lnTo>
                  <a:cubicBezTo>
                    <a:pt x="92594" y="267391"/>
                    <a:pt x="92594" y="267391"/>
                    <a:pt x="92594" y="268343"/>
                  </a:cubicBezTo>
                  <a:lnTo>
                    <a:pt x="92594" y="268343"/>
                  </a:lnTo>
                  <a:cubicBezTo>
                    <a:pt x="94498" y="269294"/>
                    <a:pt x="101161" y="262633"/>
                    <a:pt x="105920" y="261681"/>
                  </a:cubicBezTo>
                  <a:cubicBezTo>
                    <a:pt x="106872" y="260730"/>
                    <a:pt x="105920" y="261681"/>
                    <a:pt x="106872" y="259778"/>
                  </a:cubicBezTo>
                  <a:cubicBezTo>
                    <a:pt x="111632" y="258827"/>
                    <a:pt x="114487" y="257875"/>
                    <a:pt x="119247" y="255972"/>
                  </a:cubicBezTo>
                  <a:cubicBezTo>
                    <a:pt x="120199" y="254069"/>
                    <a:pt x="120199" y="254069"/>
                    <a:pt x="118295" y="254069"/>
                  </a:cubicBezTo>
                  <a:lnTo>
                    <a:pt x="122103" y="253117"/>
                  </a:lnTo>
                  <a:cubicBezTo>
                    <a:pt x="120199" y="256924"/>
                    <a:pt x="129718" y="252166"/>
                    <a:pt x="126862" y="255972"/>
                  </a:cubicBezTo>
                  <a:cubicBezTo>
                    <a:pt x="127814" y="255972"/>
                    <a:pt x="129718" y="255021"/>
                    <a:pt x="131622" y="254069"/>
                  </a:cubicBezTo>
                  <a:cubicBezTo>
                    <a:pt x="131622" y="253117"/>
                    <a:pt x="131622" y="252166"/>
                    <a:pt x="133525" y="251214"/>
                  </a:cubicBezTo>
                  <a:cubicBezTo>
                    <a:pt x="137333" y="250263"/>
                    <a:pt x="136381" y="250263"/>
                    <a:pt x="139237" y="249311"/>
                  </a:cubicBezTo>
                  <a:cubicBezTo>
                    <a:pt x="140189" y="249311"/>
                    <a:pt x="139237" y="250263"/>
                    <a:pt x="140189" y="251214"/>
                  </a:cubicBezTo>
                  <a:cubicBezTo>
                    <a:pt x="143996" y="248360"/>
                    <a:pt x="144948" y="251214"/>
                    <a:pt x="148756" y="248360"/>
                  </a:cubicBezTo>
                  <a:cubicBezTo>
                    <a:pt x="151612" y="247408"/>
                    <a:pt x="156371" y="244553"/>
                    <a:pt x="155419" y="243602"/>
                  </a:cubicBezTo>
                  <a:cubicBezTo>
                    <a:pt x="161131" y="236941"/>
                    <a:pt x="161131" y="237892"/>
                    <a:pt x="161131" y="238844"/>
                  </a:cubicBezTo>
                  <a:close/>
                </a:path>
              </a:pathLst>
            </a:custGeom>
            <a:solidFill>
              <a:srgbClr val="144573"/>
            </a:solidFill>
            <a:ln w="95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 sz="1800"/>
            </a:p>
          </p:txBody>
        </p:sp>
        <p:sp>
          <p:nvSpPr>
            <p:cNvPr id="12" name="Kombinationstegning 11">
              <a:extLst>
                <a:ext uri="{FF2B5EF4-FFF2-40B4-BE49-F238E27FC236}">
                  <a16:creationId xmlns:a16="http://schemas.microsoft.com/office/drawing/2014/main" id="{82041656-5DF5-7545-B85B-7EC994BC2117}"/>
                </a:ext>
              </a:extLst>
            </p:cNvPr>
            <p:cNvSpPr/>
            <p:nvPr/>
          </p:nvSpPr>
          <p:spPr>
            <a:xfrm>
              <a:off x="4230253" y="1614978"/>
              <a:ext cx="327509" cy="227766"/>
            </a:xfrm>
            <a:custGeom>
              <a:avLst/>
              <a:gdLst>
                <a:gd name="connsiteX0" fmla="*/ 139034 w 327509"/>
                <a:gd name="connsiteY0" fmla="*/ 58997 h 227766"/>
                <a:gd name="connsiteX1" fmla="*/ 141889 w 327509"/>
                <a:gd name="connsiteY1" fmla="*/ 58997 h 227766"/>
                <a:gd name="connsiteX2" fmla="*/ 116188 w 327509"/>
                <a:gd name="connsiteY2" fmla="*/ 61852 h 227766"/>
                <a:gd name="connsiteX3" fmla="*/ 170446 w 327509"/>
                <a:gd name="connsiteY3" fmla="*/ 51385 h 227766"/>
                <a:gd name="connsiteX4" fmla="*/ 191388 w 327509"/>
                <a:gd name="connsiteY4" fmla="*/ 54239 h 227766"/>
                <a:gd name="connsiteX5" fmla="*/ 201859 w 327509"/>
                <a:gd name="connsiteY5" fmla="*/ 50433 h 227766"/>
                <a:gd name="connsiteX6" fmla="*/ 194244 w 327509"/>
                <a:gd name="connsiteY6" fmla="*/ 53288 h 227766"/>
                <a:gd name="connsiteX7" fmla="*/ 201859 w 327509"/>
                <a:gd name="connsiteY7" fmla="*/ 50433 h 227766"/>
                <a:gd name="connsiteX8" fmla="*/ 210426 w 327509"/>
                <a:gd name="connsiteY8" fmla="*/ 47578 h 227766"/>
                <a:gd name="connsiteX9" fmla="*/ 218041 w 327509"/>
                <a:gd name="connsiteY9" fmla="*/ 45675 h 227766"/>
                <a:gd name="connsiteX10" fmla="*/ 224705 w 327509"/>
                <a:gd name="connsiteY10" fmla="*/ 43772 h 227766"/>
                <a:gd name="connsiteX11" fmla="*/ 231368 w 327509"/>
                <a:gd name="connsiteY11" fmla="*/ 44724 h 227766"/>
                <a:gd name="connsiteX12" fmla="*/ 231368 w 327509"/>
                <a:gd name="connsiteY12" fmla="*/ 44724 h 227766"/>
                <a:gd name="connsiteX13" fmla="*/ 230416 w 327509"/>
                <a:gd name="connsiteY13" fmla="*/ 45675 h 227766"/>
                <a:gd name="connsiteX14" fmla="*/ 225657 w 327509"/>
                <a:gd name="connsiteY14" fmla="*/ 48530 h 227766"/>
                <a:gd name="connsiteX15" fmla="*/ 219945 w 327509"/>
                <a:gd name="connsiteY15" fmla="*/ 51385 h 227766"/>
                <a:gd name="connsiteX16" fmla="*/ 218993 w 327509"/>
                <a:gd name="connsiteY16" fmla="*/ 51385 h 227766"/>
                <a:gd name="connsiteX17" fmla="*/ 219945 w 327509"/>
                <a:gd name="connsiteY17" fmla="*/ 51385 h 227766"/>
                <a:gd name="connsiteX18" fmla="*/ 220897 w 327509"/>
                <a:gd name="connsiteY18" fmla="*/ 53288 h 227766"/>
                <a:gd name="connsiteX19" fmla="*/ 220897 w 327509"/>
                <a:gd name="connsiteY19" fmla="*/ 53288 h 227766"/>
                <a:gd name="connsiteX20" fmla="*/ 219945 w 327509"/>
                <a:gd name="connsiteY20" fmla="*/ 54239 h 227766"/>
                <a:gd name="connsiteX21" fmla="*/ 218041 w 327509"/>
                <a:gd name="connsiteY21" fmla="*/ 56143 h 227766"/>
                <a:gd name="connsiteX22" fmla="*/ 213282 w 327509"/>
                <a:gd name="connsiteY22" fmla="*/ 60900 h 227766"/>
                <a:gd name="connsiteX23" fmla="*/ 218993 w 327509"/>
                <a:gd name="connsiteY23" fmla="*/ 59949 h 227766"/>
                <a:gd name="connsiteX24" fmla="*/ 215186 w 327509"/>
                <a:gd name="connsiteY24" fmla="*/ 61852 h 227766"/>
                <a:gd name="connsiteX25" fmla="*/ 203763 w 327509"/>
                <a:gd name="connsiteY25" fmla="*/ 75174 h 227766"/>
                <a:gd name="connsiteX26" fmla="*/ 199003 w 327509"/>
                <a:gd name="connsiteY26" fmla="*/ 77077 h 227766"/>
                <a:gd name="connsiteX27" fmla="*/ 199955 w 327509"/>
                <a:gd name="connsiteY27" fmla="*/ 77077 h 227766"/>
                <a:gd name="connsiteX28" fmla="*/ 174254 w 327509"/>
                <a:gd name="connsiteY28" fmla="*/ 98011 h 227766"/>
                <a:gd name="connsiteX29" fmla="*/ 171398 w 327509"/>
                <a:gd name="connsiteY29" fmla="*/ 98963 h 227766"/>
                <a:gd name="connsiteX30" fmla="*/ 164735 w 327509"/>
                <a:gd name="connsiteY30" fmla="*/ 105624 h 227766"/>
                <a:gd name="connsiteX31" fmla="*/ 160927 w 327509"/>
                <a:gd name="connsiteY31" fmla="*/ 105624 h 227766"/>
                <a:gd name="connsiteX32" fmla="*/ 146649 w 327509"/>
                <a:gd name="connsiteY32" fmla="*/ 120849 h 227766"/>
                <a:gd name="connsiteX33" fmla="*/ 91439 w 327509"/>
                <a:gd name="connsiteY33" fmla="*/ 170331 h 227766"/>
                <a:gd name="connsiteX34" fmla="*/ 92391 w 327509"/>
                <a:gd name="connsiteY34" fmla="*/ 170331 h 227766"/>
                <a:gd name="connsiteX35" fmla="*/ 73353 w 327509"/>
                <a:gd name="connsiteY35" fmla="*/ 189362 h 227766"/>
                <a:gd name="connsiteX36" fmla="*/ 60978 w 327509"/>
                <a:gd name="connsiteY36" fmla="*/ 207442 h 227766"/>
                <a:gd name="connsiteX37" fmla="*/ 46699 w 327509"/>
                <a:gd name="connsiteY37" fmla="*/ 222667 h 227766"/>
                <a:gd name="connsiteX38" fmla="*/ 45747 w 327509"/>
                <a:gd name="connsiteY38" fmla="*/ 227425 h 227766"/>
                <a:gd name="connsiteX39" fmla="*/ 55266 w 327509"/>
                <a:gd name="connsiteY39" fmla="*/ 221715 h 227766"/>
                <a:gd name="connsiteX40" fmla="*/ 55266 w 327509"/>
                <a:gd name="connsiteY40" fmla="*/ 221715 h 227766"/>
                <a:gd name="connsiteX41" fmla="*/ 110477 w 327509"/>
                <a:gd name="connsiteY41" fmla="*/ 182701 h 227766"/>
                <a:gd name="connsiteX42" fmla="*/ 146649 w 327509"/>
                <a:gd name="connsiteY42" fmla="*/ 152251 h 227766"/>
                <a:gd name="connsiteX43" fmla="*/ 183773 w 327509"/>
                <a:gd name="connsiteY43" fmla="*/ 118946 h 227766"/>
                <a:gd name="connsiteX44" fmla="*/ 191388 w 327509"/>
                <a:gd name="connsiteY44" fmla="*/ 114188 h 227766"/>
                <a:gd name="connsiteX45" fmla="*/ 226608 w 327509"/>
                <a:gd name="connsiteY45" fmla="*/ 84690 h 227766"/>
                <a:gd name="connsiteX46" fmla="*/ 225657 w 327509"/>
                <a:gd name="connsiteY46" fmla="*/ 84690 h 227766"/>
                <a:gd name="connsiteX47" fmla="*/ 234224 w 327509"/>
                <a:gd name="connsiteY47" fmla="*/ 78029 h 227766"/>
                <a:gd name="connsiteX48" fmla="*/ 238983 w 327509"/>
                <a:gd name="connsiteY48" fmla="*/ 75174 h 227766"/>
                <a:gd name="connsiteX49" fmla="*/ 240887 w 327509"/>
                <a:gd name="connsiteY49" fmla="*/ 73271 h 227766"/>
                <a:gd name="connsiteX50" fmla="*/ 244695 w 327509"/>
                <a:gd name="connsiteY50" fmla="*/ 70416 h 227766"/>
                <a:gd name="connsiteX51" fmla="*/ 246598 w 327509"/>
                <a:gd name="connsiteY51" fmla="*/ 68513 h 227766"/>
                <a:gd name="connsiteX52" fmla="*/ 275155 w 327509"/>
                <a:gd name="connsiteY52" fmla="*/ 43772 h 227766"/>
                <a:gd name="connsiteX53" fmla="*/ 300857 w 327509"/>
                <a:gd name="connsiteY53" fmla="*/ 20934 h 227766"/>
                <a:gd name="connsiteX54" fmla="*/ 302760 w 327509"/>
                <a:gd name="connsiteY54" fmla="*/ 19031 h 227766"/>
                <a:gd name="connsiteX55" fmla="*/ 320847 w 327509"/>
                <a:gd name="connsiteY55" fmla="*/ 5709 h 227766"/>
                <a:gd name="connsiteX56" fmla="*/ 325606 w 327509"/>
                <a:gd name="connsiteY56" fmla="*/ 1903 h 227766"/>
                <a:gd name="connsiteX57" fmla="*/ 326558 w 327509"/>
                <a:gd name="connsiteY57" fmla="*/ 951 h 227766"/>
                <a:gd name="connsiteX58" fmla="*/ 327510 w 327509"/>
                <a:gd name="connsiteY58" fmla="*/ 0 h 227766"/>
                <a:gd name="connsiteX59" fmla="*/ 325606 w 327509"/>
                <a:gd name="connsiteY59" fmla="*/ 0 h 227766"/>
                <a:gd name="connsiteX60" fmla="*/ 318943 w 327509"/>
                <a:gd name="connsiteY60" fmla="*/ 0 h 227766"/>
                <a:gd name="connsiteX61" fmla="*/ 285626 w 327509"/>
                <a:gd name="connsiteY61" fmla="*/ 3806 h 227766"/>
                <a:gd name="connsiteX62" fmla="*/ 265636 w 327509"/>
                <a:gd name="connsiteY62" fmla="*/ 10467 h 227766"/>
                <a:gd name="connsiteX63" fmla="*/ 255165 w 327509"/>
                <a:gd name="connsiteY63" fmla="*/ 13322 h 227766"/>
                <a:gd name="connsiteX64" fmla="*/ 244695 w 327509"/>
                <a:gd name="connsiteY64" fmla="*/ 12370 h 227766"/>
                <a:gd name="connsiteX65" fmla="*/ 243743 w 327509"/>
                <a:gd name="connsiteY65" fmla="*/ 14274 h 227766"/>
                <a:gd name="connsiteX66" fmla="*/ 216138 w 327509"/>
                <a:gd name="connsiteY66" fmla="*/ 19983 h 227766"/>
                <a:gd name="connsiteX67" fmla="*/ 213282 w 327509"/>
                <a:gd name="connsiteY67" fmla="*/ 20934 h 227766"/>
                <a:gd name="connsiteX68" fmla="*/ 211378 w 327509"/>
                <a:gd name="connsiteY68" fmla="*/ 21886 h 227766"/>
                <a:gd name="connsiteX69" fmla="*/ 207570 w 327509"/>
                <a:gd name="connsiteY69" fmla="*/ 22838 h 227766"/>
                <a:gd name="connsiteX70" fmla="*/ 202811 w 327509"/>
                <a:gd name="connsiteY70" fmla="*/ 22838 h 227766"/>
                <a:gd name="connsiteX71" fmla="*/ 192340 w 327509"/>
                <a:gd name="connsiteY71" fmla="*/ 23789 h 227766"/>
                <a:gd name="connsiteX72" fmla="*/ 176158 w 327509"/>
                <a:gd name="connsiteY72" fmla="*/ 28547 h 227766"/>
                <a:gd name="connsiteX73" fmla="*/ 177110 w 327509"/>
                <a:gd name="connsiteY73" fmla="*/ 28547 h 227766"/>
                <a:gd name="connsiteX74" fmla="*/ 159024 w 327509"/>
                <a:gd name="connsiteY74" fmla="*/ 28547 h 227766"/>
                <a:gd name="connsiteX75" fmla="*/ 102861 w 327509"/>
                <a:gd name="connsiteY75" fmla="*/ 37111 h 227766"/>
                <a:gd name="connsiteX76" fmla="*/ 106669 w 327509"/>
                <a:gd name="connsiteY76" fmla="*/ 38063 h 227766"/>
                <a:gd name="connsiteX77" fmla="*/ 76208 w 327509"/>
                <a:gd name="connsiteY77" fmla="*/ 39966 h 227766"/>
                <a:gd name="connsiteX78" fmla="*/ 71449 w 327509"/>
                <a:gd name="connsiteY78" fmla="*/ 39014 h 227766"/>
                <a:gd name="connsiteX79" fmla="*/ 67641 w 327509"/>
                <a:gd name="connsiteY79" fmla="*/ 39966 h 227766"/>
                <a:gd name="connsiteX80" fmla="*/ 66689 w 327509"/>
                <a:gd name="connsiteY80" fmla="*/ 39014 h 227766"/>
                <a:gd name="connsiteX81" fmla="*/ 58122 w 327509"/>
                <a:gd name="connsiteY81" fmla="*/ 39014 h 227766"/>
                <a:gd name="connsiteX82" fmla="*/ 55266 w 327509"/>
                <a:gd name="connsiteY82" fmla="*/ 39966 h 227766"/>
                <a:gd name="connsiteX83" fmla="*/ 51459 w 327509"/>
                <a:gd name="connsiteY83" fmla="*/ 39014 h 227766"/>
                <a:gd name="connsiteX84" fmla="*/ 51459 w 327509"/>
                <a:gd name="connsiteY84" fmla="*/ 39014 h 227766"/>
                <a:gd name="connsiteX85" fmla="*/ 49555 w 327509"/>
                <a:gd name="connsiteY85" fmla="*/ 39014 h 227766"/>
                <a:gd name="connsiteX86" fmla="*/ 35277 w 327509"/>
                <a:gd name="connsiteY86" fmla="*/ 45675 h 227766"/>
                <a:gd name="connsiteX87" fmla="*/ 34325 w 327509"/>
                <a:gd name="connsiteY87" fmla="*/ 45675 h 227766"/>
                <a:gd name="connsiteX88" fmla="*/ 32421 w 327509"/>
                <a:gd name="connsiteY88" fmla="*/ 47578 h 227766"/>
                <a:gd name="connsiteX89" fmla="*/ 30517 w 327509"/>
                <a:gd name="connsiteY89" fmla="*/ 47578 h 227766"/>
                <a:gd name="connsiteX90" fmla="*/ 30517 w 327509"/>
                <a:gd name="connsiteY90" fmla="*/ 47578 h 227766"/>
                <a:gd name="connsiteX91" fmla="*/ 28613 w 327509"/>
                <a:gd name="connsiteY91" fmla="*/ 47578 h 227766"/>
                <a:gd name="connsiteX92" fmla="*/ 28613 w 327509"/>
                <a:gd name="connsiteY92" fmla="*/ 46627 h 227766"/>
                <a:gd name="connsiteX93" fmla="*/ 24806 w 327509"/>
                <a:gd name="connsiteY93" fmla="*/ 47578 h 227766"/>
                <a:gd name="connsiteX94" fmla="*/ 37180 w 327509"/>
                <a:gd name="connsiteY94" fmla="*/ 49482 h 227766"/>
                <a:gd name="connsiteX95" fmla="*/ 31469 w 327509"/>
                <a:gd name="connsiteY95" fmla="*/ 50433 h 227766"/>
                <a:gd name="connsiteX96" fmla="*/ 21950 w 327509"/>
                <a:gd name="connsiteY96" fmla="*/ 49482 h 227766"/>
                <a:gd name="connsiteX97" fmla="*/ 19094 w 327509"/>
                <a:gd name="connsiteY97" fmla="*/ 50433 h 227766"/>
                <a:gd name="connsiteX98" fmla="*/ 16239 w 327509"/>
                <a:gd name="connsiteY98" fmla="*/ 50433 h 227766"/>
                <a:gd name="connsiteX99" fmla="*/ 20998 w 327509"/>
                <a:gd name="connsiteY99" fmla="*/ 49482 h 227766"/>
                <a:gd name="connsiteX100" fmla="*/ 16239 w 327509"/>
                <a:gd name="connsiteY100" fmla="*/ 48530 h 227766"/>
                <a:gd name="connsiteX101" fmla="*/ 10527 w 327509"/>
                <a:gd name="connsiteY101" fmla="*/ 49482 h 227766"/>
                <a:gd name="connsiteX102" fmla="*/ 7672 w 327509"/>
                <a:gd name="connsiteY102" fmla="*/ 48530 h 227766"/>
                <a:gd name="connsiteX103" fmla="*/ 5768 w 327509"/>
                <a:gd name="connsiteY103" fmla="*/ 49482 h 227766"/>
                <a:gd name="connsiteX104" fmla="*/ 9575 w 327509"/>
                <a:gd name="connsiteY104" fmla="*/ 51385 h 227766"/>
                <a:gd name="connsiteX105" fmla="*/ 4816 w 327509"/>
                <a:gd name="connsiteY105" fmla="*/ 51385 h 227766"/>
                <a:gd name="connsiteX106" fmla="*/ 4816 w 327509"/>
                <a:gd name="connsiteY106" fmla="*/ 52336 h 227766"/>
                <a:gd name="connsiteX107" fmla="*/ 1008 w 327509"/>
                <a:gd name="connsiteY107" fmla="*/ 52336 h 227766"/>
                <a:gd name="connsiteX108" fmla="*/ 1960 w 327509"/>
                <a:gd name="connsiteY108" fmla="*/ 52336 h 227766"/>
                <a:gd name="connsiteX109" fmla="*/ 9575 w 327509"/>
                <a:gd name="connsiteY109" fmla="*/ 47578 h 227766"/>
                <a:gd name="connsiteX110" fmla="*/ 56 w 327509"/>
                <a:gd name="connsiteY110" fmla="*/ 52336 h 227766"/>
                <a:gd name="connsiteX111" fmla="*/ 1008 w 327509"/>
                <a:gd name="connsiteY111" fmla="*/ 54239 h 227766"/>
                <a:gd name="connsiteX112" fmla="*/ 1960 w 327509"/>
                <a:gd name="connsiteY112" fmla="*/ 53288 h 227766"/>
                <a:gd name="connsiteX113" fmla="*/ 3864 w 327509"/>
                <a:gd name="connsiteY113" fmla="*/ 55191 h 227766"/>
                <a:gd name="connsiteX114" fmla="*/ 9575 w 327509"/>
                <a:gd name="connsiteY114" fmla="*/ 50433 h 227766"/>
                <a:gd name="connsiteX115" fmla="*/ 10527 w 327509"/>
                <a:gd name="connsiteY115" fmla="*/ 50433 h 227766"/>
                <a:gd name="connsiteX116" fmla="*/ 5768 w 327509"/>
                <a:gd name="connsiteY116" fmla="*/ 51385 h 227766"/>
                <a:gd name="connsiteX117" fmla="*/ 2912 w 327509"/>
                <a:gd name="connsiteY117" fmla="*/ 53288 h 227766"/>
                <a:gd name="connsiteX118" fmla="*/ 2912 w 327509"/>
                <a:gd name="connsiteY118" fmla="*/ 53288 h 227766"/>
                <a:gd name="connsiteX119" fmla="*/ 1008 w 327509"/>
                <a:gd name="connsiteY119" fmla="*/ 54239 h 227766"/>
                <a:gd name="connsiteX120" fmla="*/ 3864 w 327509"/>
                <a:gd name="connsiteY120" fmla="*/ 61852 h 227766"/>
                <a:gd name="connsiteX121" fmla="*/ 7672 w 327509"/>
                <a:gd name="connsiteY121" fmla="*/ 59949 h 227766"/>
                <a:gd name="connsiteX122" fmla="*/ 11479 w 327509"/>
                <a:gd name="connsiteY122" fmla="*/ 61852 h 227766"/>
                <a:gd name="connsiteX123" fmla="*/ 12431 w 327509"/>
                <a:gd name="connsiteY123" fmla="*/ 60900 h 227766"/>
                <a:gd name="connsiteX124" fmla="*/ 15287 w 327509"/>
                <a:gd name="connsiteY124" fmla="*/ 61852 h 227766"/>
                <a:gd name="connsiteX125" fmla="*/ 19094 w 327509"/>
                <a:gd name="connsiteY125" fmla="*/ 61852 h 227766"/>
                <a:gd name="connsiteX126" fmla="*/ 20046 w 327509"/>
                <a:gd name="connsiteY126" fmla="*/ 60900 h 227766"/>
                <a:gd name="connsiteX127" fmla="*/ 27661 w 327509"/>
                <a:gd name="connsiteY127" fmla="*/ 60900 h 227766"/>
                <a:gd name="connsiteX128" fmla="*/ 29565 w 327509"/>
                <a:gd name="connsiteY128" fmla="*/ 63755 h 227766"/>
                <a:gd name="connsiteX129" fmla="*/ 26709 w 327509"/>
                <a:gd name="connsiteY129" fmla="*/ 61852 h 227766"/>
                <a:gd name="connsiteX130" fmla="*/ 22902 w 327509"/>
                <a:gd name="connsiteY130" fmla="*/ 63755 h 227766"/>
                <a:gd name="connsiteX131" fmla="*/ 28613 w 327509"/>
                <a:gd name="connsiteY131" fmla="*/ 63755 h 227766"/>
                <a:gd name="connsiteX132" fmla="*/ 28613 w 327509"/>
                <a:gd name="connsiteY132" fmla="*/ 63755 h 227766"/>
                <a:gd name="connsiteX133" fmla="*/ 35277 w 327509"/>
                <a:gd name="connsiteY133" fmla="*/ 63755 h 227766"/>
                <a:gd name="connsiteX134" fmla="*/ 34325 w 327509"/>
                <a:gd name="connsiteY134" fmla="*/ 64707 h 227766"/>
                <a:gd name="connsiteX135" fmla="*/ 37180 w 327509"/>
                <a:gd name="connsiteY135" fmla="*/ 64707 h 227766"/>
                <a:gd name="connsiteX136" fmla="*/ 37180 w 327509"/>
                <a:gd name="connsiteY136" fmla="*/ 63755 h 227766"/>
                <a:gd name="connsiteX137" fmla="*/ 40036 w 327509"/>
                <a:gd name="connsiteY137" fmla="*/ 63755 h 227766"/>
                <a:gd name="connsiteX138" fmla="*/ 52411 w 327509"/>
                <a:gd name="connsiteY138" fmla="*/ 59949 h 227766"/>
                <a:gd name="connsiteX139" fmla="*/ 56218 w 327509"/>
                <a:gd name="connsiteY139" fmla="*/ 59949 h 227766"/>
                <a:gd name="connsiteX140" fmla="*/ 42892 w 327509"/>
                <a:gd name="connsiteY140" fmla="*/ 63755 h 227766"/>
                <a:gd name="connsiteX141" fmla="*/ 62882 w 327509"/>
                <a:gd name="connsiteY141" fmla="*/ 58997 h 227766"/>
                <a:gd name="connsiteX142" fmla="*/ 64785 w 327509"/>
                <a:gd name="connsiteY142" fmla="*/ 58046 h 227766"/>
                <a:gd name="connsiteX143" fmla="*/ 65737 w 327509"/>
                <a:gd name="connsiteY143" fmla="*/ 59949 h 227766"/>
                <a:gd name="connsiteX144" fmla="*/ 65737 w 327509"/>
                <a:gd name="connsiteY144" fmla="*/ 59949 h 227766"/>
                <a:gd name="connsiteX145" fmla="*/ 67641 w 327509"/>
                <a:gd name="connsiteY145" fmla="*/ 60900 h 227766"/>
                <a:gd name="connsiteX146" fmla="*/ 79064 w 327509"/>
                <a:gd name="connsiteY146" fmla="*/ 58046 h 227766"/>
                <a:gd name="connsiteX147" fmla="*/ 75256 w 327509"/>
                <a:gd name="connsiteY147" fmla="*/ 60900 h 227766"/>
                <a:gd name="connsiteX148" fmla="*/ 75256 w 327509"/>
                <a:gd name="connsiteY148" fmla="*/ 60900 h 227766"/>
                <a:gd name="connsiteX149" fmla="*/ 73353 w 327509"/>
                <a:gd name="connsiteY149" fmla="*/ 61852 h 227766"/>
                <a:gd name="connsiteX150" fmla="*/ 79064 w 327509"/>
                <a:gd name="connsiteY150" fmla="*/ 60900 h 227766"/>
                <a:gd name="connsiteX151" fmla="*/ 80016 w 327509"/>
                <a:gd name="connsiteY151" fmla="*/ 60900 h 227766"/>
                <a:gd name="connsiteX152" fmla="*/ 80016 w 327509"/>
                <a:gd name="connsiteY152" fmla="*/ 60900 h 227766"/>
                <a:gd name="connsiteX153" fmla="*/ 80968 w 327509"/>
                <a:gd name="connsiteY153" fmla="*/ 61852 h 227766"/>
                <a:gd name="connsiteX154" fmla="*/ 80968 w 327509"/>
                <a:gd name="connsiteY154" fmla="*/ 61852 h 227766"/>
                <a:gd name="connsiteX155" fmla="*/ 93342 w 327509"/>
                <a:gd name="connsiteY155" fmla="*/ 59949 h 227766"/>
                <a:gd name="connsiteX156" fmla="*/ 94294 w 327509"/>
                <a:gd name="connsiteY156" fmla="*/ 58997 h 227766"/>
                <a:gd name="connsiteX157" fmla="*/ 105717 w 327509"/>
                <a:gd name="connsiteY157" fmla="*/ 58997 h 227766"/>
                <a:gd name="connsiteX158" fmla="*/ 104765 w 327509"/>
                <a:gd name="connsiteY158" fmla="*/ 57094 h 227766"/>
                <a:gd name="connsiteX159" fmla="*/ 107621 w 327509"/>
                <a:gd name="connsiteY159" fmla="*/ 57094 h 227766"/>
                <a:gd name="connsiteX160" fmla="*/ 111429 w 327509"/>
                <a:gd name="connsiteY160" fmla="*/ 60900 h 227766"/>
                <a:gd name="connsiteX161" fmla="*/ 116188 w 327509"/>
                <a:gd name="connsiteY161" fmla="*/ 60900 h 227766"/>
                <a:gd name="connsiteX162" fmla="*/ 119044 w 327509"/>
                <a:gd name="connsiteY162" fmla="*/ 58997 h 227766"/>
                <a:gd name="connsiteX163" fmla="*/ 123803 w 327509"/>
                <a:gd name="connsiteY163" fmla="*/ 58997 h 227766"/>
                <a:gd name="connsiteX164" fmla="*/ 123803 w 327509"/>
                <a:gd name="connsiteY164" fmla="*/ 60900 h 227766"/>
                <a:gd name="connsiteX165" fmla="*/ 131418 w 327509"/>
                <a:gd name="connsiteY165" fmla="*/ 60900 h 227766"/>
                <a:gd name="connsiteX166" fmla="*/ 138082 w 327509"/>
                <a:gd name="connsiteY166" fmla="*/ 58046 h 227766"/>
                <a:gd name="connsiteX167" fmla="*/ 139034 w 327509"/>
                <a:gd name="connsiteY167" fmla="*/ 58997 h 227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</a:cxnLst>
              <a:rect l="l" t="t" r="r" b="b"/>
              <a:pathLst>
                <a:path w="327509" h="227766">
                  <a:moveTo>
                    <a:pt x="139034" y="58997"/>
                  </a:moveTo>
                  <a:lnTo>
                    <a:pt x="141889" y="58997"/>
                  </a:lnTo>
                  <a:cubicBezTo>
                    <a:pt x="133322" y="60900"/>
                    <a:pt x="124755" y="60900"/>
                    <a:pt x="116188" y="61852"/>
                  </a:cubicBezTo>
                  <a:cubicBezTo>
                    <a:pt x="135226" y="63755"/>
                    <a:pt x="158072" y="63755"/>
                    <a:pt x="170446" y="51385"/>
                  </a:cubicBezTo>
                  <a:cubicBezTo>
                    <a:pt x="173302" y="56143"/>
                    <a:pt x="191388" y="55191"/>
                    <a:pt x="191388" y="54239"/>
                  </a:cubicBezTo>
                  <a:cubicBezTo>
                    <a:pt x="195196" y="52336"/>
                    <a:pt x="199003" y="51385"/>
                    <a:pt x="201859" y="50433"/>
                  </a:cubicBezTo>
                  <a:cubicBezTo>
                    <a:pt x="199003" y="51385"/>
                    <a:pt x="197100" y="52336"/>
                    <a:pt x="194244" y="53288"/>
                  </a:cubicBezTo>
                  <a:cubicBezTo>
                    <a:pt x="197100" y="52336"/>
                    <a:pt x="199003" y="51385"/>
                    <a:pt x="201859" y="50433"/>
                  </a:cubicBezTo>
                  <a:cubicBezTo>
                    <a:pt x="204715" y="49482"/>
                    <a:pt x="207570" y="48530"/>
                    <a:pt x="210426" y="47578"/>
                  </a:cubicBezTo>
                  <a:cubicBezTo>
                    <a:pt x="213282" y="46627"/>
                    <a:pt x="217089" y="45675"/>
                    <a:pt x="218041" y="45675"/>
                  </a:cubicBezTo>
                  <a:cubicBezTo>
                    <a:pt x="219945" y="44724"/>
                    <a:pt x="222801" y="44724"/>
                    <a:pt x="224705" y="43772"/>
                  </a:cubicBezTo>
                  <a:cubicBezTo>
                    <a:pt x="228512" y="42821"/>
                    <a:pt x="231368" y="43772"/>
                    <a:pt x="231368" y="44724"/>
                  </a:cubicBezTo>
                  <a:lnTo>
                    <a:pt x="231368" y="44724"/>
                  </a:lnTo>
                  <a:cubicBezTo>
                    <a:pt x="231368" y="44724"/>
                    <a:pt x="232320" y="44724"/>
                    <a:pt x="230416" y="45675"/>
                  </a:cubicBezTo>
                  <a:cubicBezTo>
                    <a:pt x="228512" y="46627"/>
                    <a:pt x="227560" y="47578"/>
                    <a:pt x="225657" y="48530"/>
                  </a:cubicBezTo>
                  <a:cubicBezTo>
                    <a:pt x="222801" y="50433"/>
                    <a:pt x="220897" y="51385"/>
                    <a:pt x="219945" y="51385"/>
                  </a:cubicBezTo>
                  <a:lnTo>
                    <a:pt x="218993" y="51385"/>
                  </a:lnTo>
                  <a:cubicBezTo>
                    <a:pt x="219945" y="51385"/>
                    <a:pt x="219945" y="51385"/>
                    <a:pt x="219945" y="51385"/>
                  </a:cubicBezTo>
                  <a:cubicBezTo>
                    <a:pt x="220897" y="51385"/>
                    <a:pt x="220897" y="52336"/>
                    <a:pt x="220897" y="53288"/>
                  </a:cubicBezTo>
                  <a:lnTo>
                    <a:pt x="220897" y="53288"/>
                  </a:lnTo>
                  <a:lnTo>
                    <a:pt x="219945" y="54239"/>
                  </a:lnTo>
                  <a:lnTo>
                    <a:pt x="218041" y="56143"/>
                  </a:lnTo>
                  <a:cubicBezTo>
                    <a:pt x="216138" y="58046"/>
                    <a:pt x="215186" y="58997"/>
                    <a:pt x="213282" y="60900"/>
                  </a:cubicBezTo>
                  <a:cubicBezTo>
                    <a:pt x="215186" y="60900"/>
                    <a:pt x="215186" y="60900"/>
                    <a:pt x="218993" y="59949"/>
                  </a:cubicBezTo>
                  <a:lnTo>
                    <a:pt x="215186" y="61852"/>
                  </a:lnTo>
                  <a:cubicBezTo>
                    <a:pt x="213282" y="65658"/>
                    <a:pt x="206619" y="71368"/>
                    <a:pt x="203763" y="75174"/>
                  </a:cubicBezTo>
                  <a:cubicBezTo>
                    <a:pt x="203763" y="74222"/>
                    <a:pt x="200907" y="76126"/>
                    <a:pt x="199003" y="77077"/>
                  </a:cubicBezTo>
                  <a:lnTo>
                    <a:pt x="199955" y="77077"/>
                  </a:lnTo>
                  <a:cubicBezTo>
                    <a:pt x="191388" y="83738"/>
                    <a:pt x="181869" y="92302"/>
                    <a:pt x="174254" y="98011"/>
                  </a:cubicBezTo>
                  <a:cubicBezTo>
                    <a:pt x="173302" y="98963"/>
                    <a:pt x="172350" y="98963"/>
                    <a:pt x="171398" y="98963"/>
                  </a:cubicBezTo>
                  <a:lnTo>
                    <a:pt x="164735" y="105624"/>
                  </a:lnTo>
                  <a:cubicBezTo>
                    <a:pt x="164735" y="103721"/>
                    <a:pt x="158072" y="109430"/>
                    <a:pt x="160927" y="105624"/>
                  </a:cubicBezTo>
                  <a:cubicBezTo>
                    <a:pt x="156168" y="111334"/>
                    <a:pt x="150456" y="115140"/>
                    <a:pt x="146649" y="120849"/>
                  </a:cubicBezTo>
                  <a:cubicBezTo>
                    <a:pt x="127611" y="136074"/>
                    <a:pt x="108573" y="153203"/>
                    <a:pt x="91439" y="170331"/>
                  </a:cubicBezTo>
                  <a:lnTo>
                    <a:pt x="92391" y="170331"/>
                  </a:lnTo>
                  <a:cubicBezTo>
                    <a:pt x="86679" y="176992"/>
                    <a:pt x="81920" y="183653"/>
                    <a:pt x="73353" y="189362"/>
                  </a:cubicBezTo>
                  <a:cubicBezTo>
                    <a:pt x="68593" y="196023"/>
                    <a:pt x="60978" y="203636"/>
                    <a:pt x="60978" y="207442"/>
                  </a:cubicBezTo>
                  <a:cubicBezTo>
                    <a:pt x="54315" y="213151"/>
                    <a:pt x="52411" y="216958"/>
                    <a:pt x="46699" y="222667"/>
                  </a:cubicBezTo>
                  <a:cubicBezTo>
                    <a:pt x="49555" y="222667"/>
                    <a:pt x="41940" y="229328"/>
                    <a:pt x="45747" y="227425"/>
                  </a:cubicBezTo>
                  <a:cubicBezTo>
                    <a:pt x="51459" y="225522"/>
                    <a:pt x="50507" y="223619"/>
                    <a:pt x="55266" y="221715"/>
                  </a:cubicBezTo>
                  <a:lnTo>
                    <a:pt x="55266" y="221715"/>
                  </a:lnTo>
                  <a:cubicBezTo>
                    <a:pt x="74304" y="209345"/>
                    <a:pt x="92391" y="196023"/>
                    <a:pt x="110477" y="182701"/>
                  </a:cubicBezTo>
                  <a:cubicBezTo>
                    <a:pt x="121899" y="172234"/>
                    <a:pt x="135226" y="162718"/>
                    <a:pt x="146649" y="152251"/>
                  </a:cubicBezTo>
                  <a:cubicBezTo>
                    <a:pt x="159024" y="140832"/>
                    <a:pt x="173302" y="128462"/>
                    <a:pt x="183773" y="118946"/>
                  </a:cubicBezTo>
                  <a:cubicBezTo>
                    <a:pt x="186629" y="116091"/>
                    <a:pt x="188532" y="116091"/>
                    <a:pt x="191388" y="114188"/>
                  </a:cubicBezTo>
                  <a:cubicBezTo>
                    <a:pt x="200907" y="105624"/>
                    <a:pt x="215186" y="95157"/>
                    <a:pt x="226608" y="84690"/>
                  </a:cubicBezTo>
                  <a:cubicBezTo>
                    <a:pt x="226608" y="84690"/>
                    <a:pt x="226608" y="84690"/>
                    <a:pt x="225657" y="84690"/>
                  </a:cubicBezTo>
                  <a:cubicBezTo>
                    <a:pt x="228512" y="81835"/>
                    <a:pt x="231368" y="79932"/>
                    <a:pt x="234224" y="78029"/>
                  </a:cubicBezTo>
                  <a:lnTo>
                    <a:pt x="238983" y="75174"/>
                  </a:lnTo>
                  <a:lnTo>
                    <a:pt x="240887" y="73271"/>
                  </a:lnTo>
                  <a:cubicBezTo>
                    <a:pt x="241839" y="72319"/>
                    <a:pt x="243743" y="71368"/>
                    <a:pt x="244695" y="70416"/>
                  </a:cubicBezTo>
                  <a:cubicBezTo>
                    <a:pt x="244695" y="70416"/>
                    <a:pt x="245646" y="68513"/>
                    <a:pt x="246598" y="68513"/>
                  </a:cubicBezTo>
                  <a:cubicBezTo>
                    <a:pt x="248502" y="68513"/>
                    <a:pt x="262781" y="55191"/>
                    <a:pt x="275155" y="43772"/>
                  </a:cubicBezTo>
                  <a:cubicBezTo>
                    <a:pt x="287530" y="32353"/>
                    <a:pt x="297049" y="22838"/>
                    <a:pt x="300857" y="20934"/>
                  </a:cubicBezTo>
                  <a:lnTo>
                    <a:pt x="302760" y="19031"/>
                  </a:lnTo>
                  <a:cubicBezTo>
                    <a:pt x="308472" y="15225"/>
                    <a:pt x="314183" y="10467"/>
                    <a:pt x="320847" y="5709"/>
                  </a:cubicBezTo>
                  <a:lnTo>
                    <a:pt x="325606" y="1903"/>
                  </a:lnTo>
                  <a:lnTo>
                    <a:pt x="326558" y="951"/>
                  </a:lnTo>
                  <a:lnTo>
                    <a:pt x="327510" y="0"/>
                  </a:lnTo>
                  <a:lnTo>
                    <a:pt x="325606" y="0"/>
                  </a:lnTo>
                  <a:cubicBezTo>
                    <a:pt x="323702" y="0"/>
                    <a:pt x="320847" y="0"/>
                    <a:pt x="318943" y="0"/>
                  </a:cubicBezTo>
                  <a:cubicBezTo>
                    <a:pt x="309424" y="951"/>
                    <a:pt x="298001" y="1903"/>
                    <a:pt x="285626" y="3806"/>
                  </a:cubicBezTo>
                  <a:cubicBezTo>
                    <a:pt x="278963" y="5709"/>
                    <a:pt x="271348" y="7612"/>
                    <a:pt x="265636" y="10467"/>
                  </a:cubicBezTo>
                  <a:cubicBezTo>
                    <a:pt x="262781" y="10467"/>
                    <a:pt x="259925" y="12370"/>
                    <a:pt x="255165" y="13322"/>
                  </a:cubicBezTo>
                  <a:cubicBezTo>
                    <a:pt x="251358" y="11419"/>
                    <a:pt x="246598" y="12370"/>
                    <a:pt x="244695" y="12370"/>
                  </a:cubicBezTo>
                  <a:cubicBezTo>
                    <a:pt x="241839" y="13322"/>
                    <a:pt x="240887" y="14274"/>
                    <a:pt x="243743" y="14274"/>
                  </a:cubicBezTo>
                  <a:cubicBezTo>
                    <a:pt x="233272" y="17128"/>
                    <a:pt x="224705" y="18080"/>
                    <a:pt x="216138" y="19983"/>
                  </a:cubicBezTo>
                  <a:lnTo>
                    <a:pt x="213282" y="20934"/>
                  </a:lnTo>
                  <a:lnTo>
                    <a:pt x="211378" y="21886"/>
                  </a:lnTo>
                  <a:cubicBezTo>
                    <a:pt x="210426" y="21886"/>
                    <a:pt x="208522" y="22838"/>
                    <a:pt x="207570" y="22838"/>
                  </a:cubicBezTo>
                  <a:cubicBezTo>
                    <a:pt x="205667" y="23789"/>
                    <a:pt x="203763" y="22838"/>
                    <a:pt x="202811" y="22838"/>
                  </a:cubicBezTo>
                  <a:cubicBezTo>
                    <a:pt x="197100" y="24741"/>
                    <a:pt x="199003" y="22838"/>
                    <a:pt x="192340" y="23789"/>
                  </a:cubicBezTo>
                  <a:cubicBezTo>
                    <a:pt x="190436" y="22838"/>
                    <a:pt x="178062" y="28547"/>
                    <a:pt x="176158" y="28547"/>
                  </a:cubicBezTo>
                  <a:lnTo>
                    <a:pt x="177110" y="28547"/>
                  </a:lnTo>
                  <a:cubicBezTo>
                    <a:pt x="170446" y="29499"/>
                    <a:pt x="165687" y="27595"/>
                    <a:pt x="159024" y="28547"/>
                  </a:cubicBezTo>
                  <a:cubicBezTo>
                    <a:pt x="139986" y="30450"/>
                    <a:pt x="119996" y="35208"/>
                    <a:pt x="102861" y="37111"/>
                  </a:cubicBezTo>
                  <a:cubicBezTo>
                    <a:pt x="102861" y="39014"/>
                    <a:pt x="106669" y="36160"/>
                    <a:pt x="106669" y="38063"/>
                  </a:cubicBezTo>
                  <a:cubicBezTo>
                    <a:pt x="96198" y="39014"/>
                    <a:pt x="85727" y="39014"/>
                    <a:pt x="76208" y="39966"/>
                  </a:cubicBezTo>
                  <a:cubicBezTo>
                    <a:pt x="74304" y="39966"/>
                    <a:pt x="72401" y="39014"/>
                    <a:pt x="71449" y="39014"/>
                  </a:cubicBezTo>
                  <a:cubicBezTo>
                    <a:pt x="68593" y="39014"/>
                    <a:pt x="69545" y="39966"/>
                    <a:pt x="67641" y="39966"/>
                  </a:cubicBezTo>
                  <a:lnTo>
                    <a:pt x="66689" y="39014"/>
                  </a:lnTo>
                  <a:cubicBezTo>
                    <a:pt x="62882" y="40917"/>
                    <a:pt x="60978" y="38063"/>
                    <a:pt x="58122" y="39014"/>
                  </a:cubicBezTo>
                  <a:cubicBezTo>
                    <a:pt x="58122" y="39966"/>
                    <a:pt x="57170" y="39966"/>
                    <a:pt x="55266" y="39966"/>
                  </a:cubicBezTo>
                  <a:cubicBezTo>
                    <a:pt x="55266" y="39014"/>
                    <a:pt x="51459" y="40917"/>
                    <a:pt x="51459" y="39014"/>
                  </a:cubicBezTo>
                  <a:lnTo>
                    <a:pt x="51459" y="39014"/>
                  </a:lnTo>
                  <a:cubicBezTo>
                    <a:pt x="50507" y="39014"/>
                    <a:pt x="50507" y="39014"/>
                    <a:pt x="49555" y="39014"/>
                  </a:cubicBezTo>
                  <a:cubicBezTo>
                    <a:pt x="48603" y="39966"/>
                    <a:pt x="36228" y="44724"/>
                    <a:pt x="35277" y="45675"/>
                  </a:cubicBezTo>
                  <a:lnTo>
                    <a:pt x="34325" y="45675"/>
                  </a:lnTo>
                  <a:cubicBezTo>
                    <a:pt x="32421" y="45675"/>
                    <a:pt x="31469" y="46627"/>
                    <a:pt x="32421" y="47578"/>
                  </a:cubicBezTo>
                  <a:lnTo>
                    <a:pt x="30517" y="47578"/>
                  </a:lnTo>
                  <a:lnTo>
                    <a:pt x="30517" y="47578"/>
                  </a:lnTo>
                  <a:lnTo>
                    <a:pt x="28613" y="47578"/>
                  </a:lnTo>
                  <a:cubicBezTo>
                    <a:pt x="28613" y="47578"/>
                    <a:pt x="27661" y="46627"/>
                    <a:pt x="28613" y="46627"/>
                  </a:cubicBezTo>
                  <a:cubicBezTo>
                    <a:pt x="27661" y="47578"/>
                    <a:pt x="25758" y="47578"/>
                    <a:pt x="24806" y="47578"/>
                  </a:cubicBezTo>
                  <a:cubicBezTo>
                    <a:pt x="28613" y="48530"/>
                    <a:pt x="33373" y="48530"/>
                    <a:pt x="37180" y="49482"/>
                  </a:cubicBezTo>
                  <a:cubicBezTo>
                    <a:pt x="35277" y="50433"/>
                    <a:pt x="32421" y="49482"/>
                    <a:pt x="31469" y="50433"/>
                  </a:cubicBezTo>
                  <a:cubicBezTo>
                    <a:pt x="29565" y="49482"/>
                    <a:pt x="24806" y="49482"/>
                    <a:pt x="21950" y="49482"/>
                  </a:cubicBezTo>
                  <a:cubicBezTo>
                    <a:pt x="20998" y="49482"/>
                    <a:pt x="20998" y="51385"/>
                    <a:pt x="19094" y="50433"/>
                  </a:cubicBezTo>
                  <a:cubicBezTo>
                    <a:pt x="18142" y="49482"/>
                    <a:pt x="17191" y="50433"/>
                    <a:pt x="16239" y="50433"/>
                  </a:cubicBezTo>
                  <a:cubicBezTo>
                    <a:pt x="18142" y="49482"/>
                    <a:pt x="19094" y="49482"/>
                    <a:pt x="20998" y="49482"/>
                  </a:cubicBezTo>
                  <a:cubicBezTo>
                    <a:pt x="20998" y="48530"/>
                    <a:pt x="17191" y="48530"/>
                    <a:pt x="16239" y="48530"/>
                  </a:cubicBezTo>
                  <a:cubicBezTo>
                    <a:pt x="15287" y="48530"/>
                    <a:pt x="12431" y="48530"/>
                    <a:pt x="10527" y="49482"/>
                  </a:cubicBezTo>
                  <a:cubicBezTo>
                    <a:pt x="11479" y="48530"/>
                    <a:pt x="8623" y="48530"/>
                    <a:pt x="7672" y="48530"/>
                  </a:cubicBezTo>
                  <a:cubicBezTo>
                    <a:pt x="6720" y="48530"/>
                    <a:pt x="5768" y="49482"/>
                    <a:pt x="5768" y="49482"/>
                  </a:cubicBezTo>
                  <a:cubicBezTo>
                    <a:pt x="5768" y="50433"/>
                    <a:pt x="10527" y="49482"/>
                    <a:pt x="9575" y="51385"/>
                  </a:cubicBezTo>
                  <a:cubicBezTo>
                    <a:pt x="8623" y="50433"/>
                    <a:pt x="6720" y="51385"/>
                    <a:pt x="4816" y="51385"/>
                  </a:cubicBezTo>
                  <a:cubicBezTo>
                    <a:pt x="4816" y="52336"/>
                    <a:pt x="5768" y="52336"/>
                    <a:pt x="4816" y="52336"/>
                  </a:cubicBezTo>
                  <a:cubicBezTo>
                    <a:pt x="2912" y="52336"/>
                    <a:pt x="1960" y="53288"/>
                    <a:pt x="1008" y="52336"/>
                  </a:cubicBezTo>
                  <a:lnTo>
                    <a:pt x="1960" y="52336"/>
                  </a:lnTo>
                  <a:cubicBezTo>
                    <a:pt x="56" y="52336"/>
                    <a:pt x="12431" y="46627"/>
                    <a:pt x="9575" y="47578"/>
                  </a:cubicBezTo>
                  <a:cubicBezTo>
                    <a:pt x="10527" y="48530"/>
                    <a:pt x="-896" y="53288"/>
                    <a:pt x="56" y="52336"/>
                  </a:cubicBezTo>
                  <a:cubicBezTo>
                    <a:pt x="1008" y="52336"/>
                    <a:pt x="-896" y="53288"/>
                    <a:pt x="1008" y="54239"/>
                  </a:cubicBezTo>
                  <a:lnTo>
                    <a:pt x="1960" y="53288"/>
                  </a:lnTo>
                  <a:cubicBezTo>
                    <a:pt x="3864" y="53288"/>
                    <a:pt x="4816" y="54239"/>
                    <a:pt x="3864" y="55191"/>
                  </a:cubicBezTo>
                  <a:cubicBezTo>
                    <a:pt x="1008" y="55191"/>
                    <a:pt x="11479" y="49482"/>
                    <a:pt x="9575" y="50433"/>
                  </a:cubicBezTo>
                  <a:lnTo>
                    <a:pt x="10527" y="50433"/>
                  </a:lnTo>
                  <a:cubicBezTo>
                    <a:pt x="9575" y="51385"/>
                    <a:pt x="6720" y="51385"/>
                    <a:pt x="5768" y="51385"/>
                  </a:cubicBezTo>
                  <a:cubicBezTo>
                    <a:pt x="5768" y="52336"/>
                    <a:pt x="4816" y="52336"/>
                    <a:pt x="2912" y="53288"/>
                  </a:cubicBezTo>
                  <a:lnTo>
                    <a:pt x="2912" y="53288"/>
                  </a:lnTo>
                  <a:cubicBezTo>
                    <a:pt x="1960" y="53288"/>
                    <a:pt x="56" y="53288"/>
                    <a:pt x="1008" y="54239"/>
                  </a:cubicBezTo>
                  <a:cubicBezTo>
                    <a:pt x="7672" y="53288"/>
                    <a:pt x="-2799" y="61852"/>
                    <a:pt x="3864" y="61852"/>
                  </a:cubicBezTo>
                  <a:cubicBezTo>
                    <a:pt x="1008" y="60900"/>
                    <a:pt x="4816" y="59949"/>
                    <a:pt x="7672" y="59949"/>
                  </a:cubicBezTo>
                  <a:cubicBezTo>
                    <a:pt x="7672" y="60900"/>
                    <a:pt x="9575" y="60900"/>
                    <a:pt x="11479" y="61852"/>
                  </a:cubicBezTo>
                  <a:cubicBezTo>
                    <a:pt x="13383" y="61852"/>
                    <a:pt x="12431" y="60900"/>
                    <a:pt x="12431" y="60900"/>
                  </a:cubicBezTo>
                  <a:cubicBezTo>
                    <a:pt x="13383" y="60900"/>
                    <a:pt x="15287" y="60900"/>
                    <a:pt x="15287" y="61852"/>
                  </a:cubicBezTo>
                  <a:cubicBezTo>
                    <a:pt x="16239" y="60900"/>
                    <a:pt x="17191" y="61852"/>
                    <a:pt x="19094" y="61852"/>
                  </a:cubicBezTo>
                  <a:cubicBezTo>
                    <a:pt x="20998" y="60900"/>
                    <a:pt x="19094" y="61852"/>
                    <a:pt x="20046" y="60900"/>
                  </a:cubicBezTo>
                  <a:cubicBezTo>
                    <a:pt x="21950" y="60900"/>
                    <a:pt x="25758" y="60900"/>
                    <a:pt x="27661" y="60900"/>
                  </a:cubicBezTo>
                  <a:cubicBezTo>
                    <a:pt x="28613" y="61852"/>
                    <a:pt x="30517" y="62803"/>
                    <a:pt x="29565" y="63755"/>
                  </a:cubicBezTo>
                  <a:cubicBezTo>
                    <a:pt x="25758" y="63755"/>
                    <a:pt x="30517" y="61852"/>
                    <a:pt x="26709" y="61852"/>
                  </a:cubicBezTo>
                  <a:cubicBezTo>
                    <a:pt x="28613" y="63755"/>
                    <a:pt x="23854" y="62803"/>
                    <a:pt x="22902" y="63755"/>
                  </a:cubicBezTo>
                  <a:cubicBezTo>
                    <a:pt x="23854" y="64707"/>
                    <a:pt x="26709" y="63755"/>
                    <a:pt x="28613" y="63755"/>
                  </a:cubicBezTo>
                  <a:lnTo>
                    <a:pt x="28613" y="63755"/>
                  </a:lnTo>
                  <a:cubicBezTo>
                    <a:pt x="30517" y="63755"/>
                    <a:pt x="33373" y="62803"/>
                    <a:pt x="35277" y="63755"/>
                  </a:cubicBezTo>
                  <a:cubicBezTo>
                    <a:pt x="35277" y="64707"/>
                    <a:pt x="36228" y="64707"/>
                    <a:pt x="34325" y="64707"/>
                  </a:cubicBezTo>
                  <a:lnTo>
                    <a:pt x="37180" y="64707"/>
                  </a:lnTo>
                  <a:cubicBezTo>
                    <a:pt x="37180" y="64707"/>
                    <a:pt x="38132" y="64707"/>
                    <a:pt x="37180" y="63755"/>
                  </a:cubicBezTo>
                  <a:cubicBezTo>
                    <a:pt x="38132" y="62803"/>
                    <a:pt x="39084" y="63755"/>
                    <a:pt x="40036" y="63755"/>
                  </a:cubicBezTo>
                  <a:cubicBezTo>
                    <a:pt x="40036" y="64707"/>
                    <a:pt x="52411" y="58997"/>
                    <a:pt x="52411" y="59949"/>
                  </a:cubicBezTo>
                  <a:cubicBezTo>
                    <a:pt x="54315" y="59949"/>
                    <a:pt x="54315" y="60900"/>
                    <a:pt x="56218" y="59949"/>
                  </a:cubicBezTo>
                  <a:cubicBezTo>
                    <a:pt x="56218" y="58997"/>
                    <a:pt x="40036" y="63755"/>
                    <a:pt x="42892" y="63755"/>
                  </a:cubicBezTo>
                  <a:cubicBezTo>
                    <a:pt x="44796" y="64707"/>
                    <a:pt x="61930" y="58046"/>
                    <a:pt x="62882" y="58997"/>
                  </a:cubicBezTo>
                  <a:cubicBezTo>
                    <a:pt x="63834" y="58997"/>
                    <a:pt x="65737" y="58046"/>
                    <a:pt x="64785" y="58046"/>
                  </a:cubicBezTo>
                  <a:cubicBezTo>
                    <a:pt x="66689" y="58046"/>
                    <a:pt x="64785" y="58997"/>
                    <a:pt x="65737" y="59949"/>
                  </a:cubicBezTo>
                  <a:lnTo>
                    <a:pt x="65737" y="59949"/>
                  </a:lnTo>
                  <a:lnTo>
                    <a:pt x="67641" y="60900"/>
                  </a:lnTo>
                  <a:cubicBezTo>
                    <a:pt x="70497" y="58997"/>
                    <a:pt x="76208" y="59949"/>
                    <a:pt x="79064" y="58046"/>
                  </a:cubicBezTo>
                  <a:cubicBezTo>
                    <a:pt x="78112" y="58997"/>
                    <a:pt x="77160" y="59949"/>
                    <a:pt x="75256" y="60900"/>
                  </a:cubicBezTo>
                  <a:lnTo>
                    <a:pt x="75256" y="60900"/>
                  </a:lnTo>
                  <a:lnTo>
                    <a:pt x="73353" y="61852"/>
                  </a:lnTo>
                  <a:cubicBezTo>
                    <a:pt x="75256" y="61852"/>
                    <a:pt x="77160" y="61852"/>
                    <a:pt x="79064" y="60900"/>
                  </a:cubicBezTo>
                  <a:lnTo>
                    <a:pt x="80016" y="60900"/>
                  </a:lnTo>
                  <a:lnTo>
                    <a:pt x="80016" y="60900"/>
                  </a:lnTo>
                  <a:cubicBezTo>
                    <a:pt x="80968" y="60900"/>
                    <a:pt x="80968" y="60900"/>
                    <a:pt x="80968" y="61852"/>
                  </a:cubicBezTo>
                  <a:lnTo>
                    <a:pt x="80968" y="61852"/>
                  </a:lnTo>
                  <a:cubicBezTo>
                    <a:pt x="82872" y="63755"/>
                    <a:pt x="89535" y="58997"/>
                    <a:pt x="93342" y="59949"/>
                  </a:cubicBezTo>
                  <a:cubicBezTo>
                    <a:pt x="94294" y="59949"/>
                    <a:pt x="93342" y="59949"/>
                    <a:pt x="94294" y="58997"/>
                  </a:cubicBezTo>
                  <a:cubicBezTo>
                    <a:pt x="98102" y="58997"/>
                    <a:pt x="100958" y="58997"/>
                    <a:pt x="105717" y="58997"/>
                  </a:cubicBezTo>
                  <a:cubicBezTo>
                    <a:pt x="106669" y="58046"/>
                    <a:pt x="106669" y="58046"/>
                    <a:pt x="104765" y="57094"/>
                  </a:cubicBezTo>
                  <a:lnTo>
                    <a:pt x="107621" y="57094"/>
                  </a:lnTo>
                  <a:cubicBezTo>
                    <a:pt x="104765" y="59949"/>
                    <a:pt x="113332" y="58046"/>
                    <a:pt x="111429" y="60900"/>
                  </a:cubicBezTo>
                  <a:cubicBezTo>
                    <a:pt x="112380" y="60900"/>
                    <a:pt x="114284" y="60900"/>
                    <a:pt x="116188" y="60900"/>
                  </a:cubicBezTo>
                  <a:cubicBezTo>
                    <a:pt x="116188" y="59949"/>
                    <a:pt x="116188" y="58997"/>
                    <a:pt x="119044" y="58997"/>
                  </a:cubicBezTo>
                  <a:cubicBezTo>
                    <a:pt x="121899" y="58997"/>
                    <a:pt x="121899" y="58997"/>
                    <a:pt x="123803" y="58997"/>
                  </a:cubicBezTo>
                  <a:cubicBezTo>
                    <a:pt x="124755" y="59949"/>
                    <a:pt x="123803" y="59949"/>
                    <a:pt x="123803" y="60900"/>
                  </a:cubicBezTo>
                  <a:cubicBezTo>
                    <a:pt x="127611" y="58997"/>
                    <a:pt x="127611" y="61852"/>
                    <a:pt x="131418" y="60900"/>
                  </a:cubicBezTo>
                  <a:cubicBezTo>
                    <a:pt x="133322" y="59949"/>
                    <a:pt x="138082" y="59949"/>
                    <a:pt x="138082" y="58046"/>
                  </a:cubicBezTo>
                  <a:cubicBezTo>
                    <a:pt x="139034" y="57094"/>
                    <a:pt x="139034" y="58046"/>
                    <a:pt x="139034" y="58997"/>
                  </a:cubicBezTo>
                  <a:close/>
                </a:path>
              </a:pathLst>
            </a:custGeom>
            <a:solidFill>
              <a:srgbClr val="144573"/>
            </a:solidFill>
            <a:ln w="95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 sz="1800"/>
            </a:p>
          </p:txBody>
        </p:sp>
      </p:grpSp>
    </p:spTree>
    <p:extLst>
      <p:ext uri="{BB962C8B-B14F-4D97-AF65-F5344CB8AC3E}">
        <p14:creationId xmlns:p14="http://schemas.microsoft.com/office/powerpoint/2010/main" val="364265580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1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 descr="Et billede, der indeholder person, udendørs, bænk, sidder&#10;&#10;Automatisk genereret beskrivelse">
            <a:extLst>
              <a:ext uri="{FF2B5EF4-FFF2-40B4-BE49-F238E27FC236}">
                <a16:creationId xmlns:a16="http://schemas.microsoft.com/office/drawing/2014/main" id="{731A862E-C8E1-AF42-92F3-C4898253E15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E0728A4A-9392-3044-A1DB-26D65B235A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23" name="Titel 9">
            <a:extLst>
              <a:ext uri="{FF2B5EF4-FFF2-40B4-BE49-F238E27FC236}">
                <a16:creationId xmlns:a16="http://schemas.microsoft.com/office/drawing/2014/main" id="{F443A15A-C60D-A744-B381-2453017F91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26" name="Billede 25">
            <a:extLst>
              <a:ext uri="{FF2B5EF4-FFF2-40B4-BE49-F238E27FC236}">
                <a16:creationId xmlns:a16="http://schemas.microsoft.com/office/drawing/2014/main" id="{D00CBDA2-D83C-C64D-8FE0-E7AFC79E139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9861674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2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 descr="Et billede, der indeholder indendørs, person, barn, sidder&#10;&#10;Automatisk genereret beskrivelse">
            <a:extLst>
              <a:ext uri="{FF2B5EF4-FFF2-40B4-BE49-F238E27FC236}">
                <a16:creationId xmlns:a16="http://schemas.microsoft.com/office/drawing/2014/main" id="{7FC025C4-3C51-2A45-9719-DDD2CC92ACD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62FB2E0C-BE4C-8B44-9153-E69F14E1281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D64F0D3D-51BD-EB4A-AF54-E0CD9509F3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2104481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ugerdefinere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87895547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7) Indhold -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iagram 4">
            <a:extLst>
              <a:ext uri="{FF2B5EF4-FFF2-40B4-BE49-F238E27FC236}">
                <a16:creationId xmlns:a16="http://schemas.microsoft.com/office/drawing/2014/main" id="{649C4CD9-CD6F-334F-98E9-4820250EF863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914401" y="655984"/>
            <a:ext cx="10366375" cy="5401917"/>
          </a:xfrm>
        </p:spPr>
        <p:txBody>
          <a:bodyPr/>
          <a:lstStyle>
            <a:lvl1pPr marL="0" indent="0" algn="ctr">
              <a:buNone/>
              <a:defRPr sz="1400"/>
            </a:lvl1pPr>
          </a:lstStyle>
          <a:p>
            <a:r>
              <a:rPr lang="da-DK"/>
              <a:t>Klik på ikonet for at tilføje et diagram</a:t>
            </a:r>
          </a:p>
        </p:txBody>
      </p:sp>
    </p:spTree>
    <p:extLst>
      <p:ext uri="{BB962C8B-B14F-4D97-AF65-F5344CB8AC3E}">
        <p14:creationId xmlns:p14="http://schemas.microsoft.com/office/powerpoint/2010/main" val="2644507060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3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lede 3" descr="Et billede, der indeholder paraply, person, tilbehør, opbevarer&#10;&#10;Automatisk genereret beskrivelse">
            <a:extLst>
              <a:ext uri="{FF2B5EF4-FFF2-40B4-BE49-F238E27FC236}">
                <a16:creationId xmlns:a16="http://schemas.microsoft.com/office/drawing/2014/main" id="{D11B5318-5D51-FF46-AFA4-AA3E8E7B22B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9D436AAE-0CC0-2842-B97D-F213D08176B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C518AE99-3537-9048-8647-3EEBD70364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044264644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4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 descr="Et billede, der indeholder udendørs, græs, felt, får&#10;&#10;Automatisk genereret beskrivelse">
            <a:extLst>
              <a:ext uri="{FF2B5EF4-FFF2-40B4-BE49-F238E27FC236}">
                <a16:creationId xmlns:a16="http://schemas.microsoft.com/office/drawing/2014/main" id="{28037FDD-8966-5E47-91C2-1782A94194D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CC8B7C6-4DC1-5C4E-B62C-454EEB2BB56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F8D615CE-0B75-DA4C-B19A-F75CC578CB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799378258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5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lede 3" descr="Et billede, der indeholder udendørs, græs, bjerg, mad&#10;&#10;Automatisk genereret beskrivelse">
            <a:extLst>
              <a:ext uri="{FF2B5EF4-FFF2-40B4-BE49-F238E27FC236}">
                <a16:creationId xmlns:a16="http://schemas.microsoft.com/office/drawing/2014/main" id="{0EA045AA-3339-604F-8EB8-940992657D5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7E53EFFB-2725-DF45-91C3-4FEDAFF8E7A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F071EF88-57BE-7A41-922C-F13269FBA8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784806108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6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 descr="Et billede, der indeholder udendørs, bygning, hegn, by&#10;&#10;Automatisk genereret beskrivelse">
            <a:extLst>
              <a:ext uri="{FF2B5EF4-FFF2-40B4-BE49-F238E27FC236}">
                <a16:creationId xmlns:a16="http://schemas.microsoft.com/office/drawing/2014/main" id="{9605DD56-4AD4-7B47-96A1-120C1DF65E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4BE94C62-970B-4746-BEEC-26579458ED5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7D4BF381-4455-B540-8DC5-812DBB345C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140238628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7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lede 3" descr="Et billede, der indeholder person, udendørs, bygning, forbereder&#10;&#10;Automatisk genereret beskrivelse">
            <a:extLst>
              <a:ext uri="{FF2B5EF4-FFF2-40B4-BE49-F238E27FC236}">
                <a16:creationId xmlns:a16="http://schemas.microsoft.com/office/drawing/2014/main" id="{40209235-55F1-C34E-9B18-45E743DAE7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200" y="0"/>
            <a:ext cx="12195200" cy="6858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BC0AD2C0-AC1A-A542-B630-A0A9A232BA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D545335C-C562-DA4D-AC43-5CCF4BE5D8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880260622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8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 descr="Et billede, der indeholder person, indendørs, opbevarer, afspiller&#10;&#10;Automatisk genereret beskrivelse">
            <a:extLst>
              <a:ext uri="{FF2B5EF4-FFF2-40B4-BE49-F238E27FC236}">
                <a16:creationId xmlns:a16="http://schemas.microsoft.com/office/drawing/2014/main" id="{86A135C5-411F-3647-B5F8-69AF5E9E13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200" y="0"/>
            <a:ext cx="12195200" cy="6858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4129421782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9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083" name="Picture 3" descr="D:\Opgaver\EDC Marts 2020\Powerpointskabelon\billeder\ppt_billede_det_handler_om_at_gøre_sig_umage_2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853728093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10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106" name="Picture 2" descr="D:\Opgaver\EDC Marts 2020\Powerpointskabelon\billeder\ppt_billede_drone_by_frederiksberg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" y="1"/>
            <a:ext cx="1219199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784731447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11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130" name="Picture 2" descr="D:\Opgaver\EDC Marts 2020\Powerpointskabelon\billeder\ppt_billede_par_renoverer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046548619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12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154" name="Picture 2" descr="D:\Opgaver\EDC Marts 2020\Powerpointskabelon\billeder\ppt_billede_par_ud_af_vindue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12191999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56471162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8) Indhold - Tab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tabel 5">
            <a:extLst>
              <a:ext uri="{FF2B5EF4-FFF2-40B4-BE49-F238E27FC236}">
                <a16:creationId xmlns:a16="http://schemas.microsoft.com/office/drawing/2014/main" id="{FAC4DF31-B3FA-AA43-969D-3B3268B15152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914401" y="655984"/>
            <a:ext cx="10366375" cy="5401917"/>
          </a:xfrm>
        </p:spPr>
        <p:txBody>
          <a:bodyPr/>
          <a:lstStyle>
            <a:lvl1pPr marL="0" indent="0" algn="ctr">
              <a:buNone/>
              <a:defRPr sz="1400"/>
            </a:lvl1pPr>
          </a:lstStyle>
          <a:p>
            <a:r>
              <a:rPr lang="da-DK"/>
              <a:t>Klik på ikonet for at tilføje en tabel</a:t>
            </a:r>
          </a:p>
        </p:txBody>
      </p:sp>
    </p:spTree>
    <p:extLst>
      <p:ext uri="{BB962C8B-B14F-4D97-AF65-F5344CB8AC3E}">
        <p14:creationId xmlns:p14="http://schemas.microsoft.com/office/powerpoint/2010/main" val="3344894888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13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178" name="Picture 2" descr="D:\Opgaver\EDC Marts 2020\Powerpointskabelon\billeder\ppt_billede_kvinde_i_lejlighed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12192001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237348333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14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02" name="Picture 2" descr="D:\Opgaver\EDC Marts 2020\Powerpointskabelon\billeder\ppt_billede_familie_i_sommerhus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934095079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15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226" name="Picture 2" descr="D:\Opgaver\EDC Marts 2020\Powerpointskabelon\billeder\ppt_billede_sommerhus_hoet_gras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811123609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16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274" name="Picture 2" descr="D:\Opgaver\EDC Marts 2020\Powerpointskabelon\billeder\ppt_billede_kvinde_i_lejlighed_med_te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920496349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17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298" name="Picture 2" descr="D:\Opgaver\EDC Marts 2020\Powerpointskabelon\billeder\ppt_billede_mand_ruller_taeppe_ud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" y="0"/>
            <a:ext cx="1219199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440190117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18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323" name="Picture 3" descr="D:\Opgaver\EDC Marts 2020\Powerpointskabelon\billeder\ppt_billede_aeldre_par_maler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" y="1"/>
            <a:ext cx="12191998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867188939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19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250" name="Picture 2" descr="D:\Opgaver\EDC Marts 2020\Powerpointskabelon\billeder\ppt_billede_familie_paa_fremvisning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" y="-1"/>
            <a:ext cx="12192001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093702465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20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led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201" y="0"/>
            <a:ext cx="12195201" cy="6860598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4166609827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21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201" y="0"/>
            <a:ext cx="12195201" cy="6860598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964039430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22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led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201" y="0"/>
            <a:ext cx="12195201" cy="6860598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02083428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9) Indhold - 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32045493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23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201" y="0"/>
            <a:ext cx="12195201" cy="6860598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353789718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24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33" y="0"/>
            <a:ext cx="12185335" cy="6860598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12419186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25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33" y="0"/>
            <a:ext cx="12185335" cy="6860598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430735526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26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33" y="0"/>
            <a:ext cx="12185335" cy="6860598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613642971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27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33" y="3174"/>
            <a:ext cx="12185335" cy="6854250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442650333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28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34" y="3174"/>
            <a:ext cx="12185333" cy="6854250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224675924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29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34" y="3175"/>
            <a:ext cx="12185333" cy="6854249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668794113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30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Umage_1_video_1920x1080_7-3" descr="Umage_1_video_1920x1080_7-3">
            <a:hlinkClick r:id="" action="ppaction://media"/>
            <a:extLst>
              <a:ext uri="{FF2B5EF4-FFF2-40B4-BE49-F238E27FC236}">
                <a16:creationId xmlns:a16="http://schemas.microsoft.com/office/drawing/2014/main" id="{7DC1A101-C4D9-A546-96D4-D7FAD68CA968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-4048" y="1"/>
            <a:ext cx="12196048" cy="6871013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2491252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0000" fill="hold"/>
                                        <p:tgtEl>
                                          <p:spTgt spid="1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11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1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1"/>
                  </p:tgtEl>
                </p:cond>
              </p:nextCondLst>
            </p:seq>
            <p:video>
              <p:cMediaNode vol="80000" mute="1">
                <p:cTn id="12" repeatCount="indefinite" fill="hold" display="0">
                  <p:stCondLst>
                    <p:cond delay="indefinite"/>
                  </p:stCondLst>
                </p:cTn>
                <p:tgtEl>
                  <p:spTgt spid="11"/>
                </p:tgtEl>
              </p:cMediaNode>
            </p:video>
          </p:childTnLst>
        </p:cTn>
      </p:par>
    </p:tnLst>
  </p:timing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31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Umage_1_video_1920x1080_7-4" descr="Umage_1_video_1920x1080_7-4">
            <a:hlinkClick r:id="" action="ppaction://media"/>
            <a:extLst>
              <a:ext uri="{FF2B5EF4-FFF2-40B4-BE49-F238E27FC236}">
                <a16:creationId xmlns:a16="http://schemas.microsoft.com/office/drawing/2014/main" id="{E5C58D9B-5A43-B947-A80D-165D5224DA91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-1297"/>
            <a:ext cx="12192000" cy="6868732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4560959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0000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10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0"/>
                  </p:tgtEl>
                </p:cond>
              </p:nextCondLst>
            </p:seq>
            <p:video>
              <p:cMediaNode vol="80000" mute="1">
                <p:cTn id="12" repeatCount="indefinite" fill="hold" display="0">
                  <p:stCondLst>
                    <p:cond delay="indefinite"/>
                  </p:stCondLst>
                </p:cTn>
                <p:tgtEl>
                  <p:spTgt spid="10"/>
                </p:tgtEl>
              </p:cMediaNode>
            </p:video>
          </p:childTnLst>
        </p:cTn>
      </p:par>
    </p:tnLst>
  </p:timing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82594777"/>
              </p:ext>
            </p:extLst>
          </p:nvPr>
        </p:nvGraphicFramePr>
        <p:xfrm>
          <a:off x="2118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 vert="horz" anchor="ctr" anchorCtr="0"/>
          <a:lstStyle>
            <a:lvl1pPr algn="r">
              <a:defRPr sz="900">
                <a:solidFill>
                  <a:srgbClr val="004454"/>
                </a:solidFill>
                <a:latin typeface="+mn-lt"/>
              </a:defRPr>
            </a:lvl1pPr>
          </a:lstStyle>
          <a:p>
            <a:fld id="{892EE196-DDA1-41FD-83E0-096904DE06E3}" type="slidenum">
              <a:rPr lang="da-DK" smtClean="0"/>
              <a:pPr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54755491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20) Indhold - Best prac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P-Animation" descr="BP-Animation">
            <a:hlinkClick r:id="" action="ppaction://media"/>
            <a:extLst>
              <a:ext uri="{FF2B5EF4-FFF2-40B4-BE49-F238E27FC236}">
                <a16:creationId xmlns:a16="http://schemas.microsoft.com/office/drawing/2014/main" id="{576F7D11-4E26-1B4C-A111-575C6B104660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30238"/>
          <a:stretch/>
        </p:blipFill>
        <p:spPr>
          <a:xfrm>
            <a:off x="3364255" y="184108"/>
            <a:ext cx="6319796" cy="3206422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129767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ladsholder til tekst 2"/>
          <p:cNvSpPr>
            <a:spLocks noGrp="1"/>
          </p:cNvSpPr>
          <p:nvPr>
            <p:ph type="body" sz="quarter" idx="11" hasCustomPrompt="1"/>
          </p:nvPr>
        </p:nvSpPr>
        <p:spPr>
          <a:xfrm>
            <a:off x="2179800" y="2249644"/>
            <a:ext cx="9097800" cy="608067"/>
          </a:xfr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2800"/>
            </a:lvl1pPr>
            <a:lvl3pPr marL="914423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736726"/>
            <a:ext cx="10363200" cy="198541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grpSp>
        <p:nvGrpSpPr>
          <p:cNvPr id="22" name="Gruppe 21">
            <a:extLst>
              <a:ext uri="{FF2B5EF4-FFF2-40B4-BE49-F238E27FC236}">
                <a16:creationId xmlns:a16="http://schemas.microsoft.com/office/drawing/2014/main" id="{E2741BB0-BC6E-D043-8C59-CE47B8FEEF7A}"/>
              </a:ext>
            </a:extLst>
          </p:cNvPr>
          <p:cNvGrpSpPr/>
          <p:nvPr userDrawn="1"/>
        </p:nvGrpSpPr>
        <p:grpSpPr>
          <a:xfrm>
            <a:off x="1308675" y="2156651"/>
            <a:ext cx="627088" cy="943015"/>
            <a:chOff x="1423875" y="4071849"/>
            <a:chExt cx="627088" cy="943015"/>
          </a:xfrm>
        </p:grpSpPr>
        <p:sp>
          <p:nvSpPr>
            <p:cNvPr id="12" name="Tekstfelt 11">
              <a:extLst>
                <a:ext uri="{FF2B5EF4-FFF2-40B4-BE49-F238E27FC236}">
                  <a16:creationId xmlns:a16="http://schemas.microsoft.com/office/drawing/2014/main" id="{A1BAD3C0-82BE-B54D-9145-1EB45E6DD52F}"/>
                </a:ext>
              </a:extLst>
            </p:cNvPr>
            <p:cNvSpPr txBox="1"/>
            <p:nvPr/>
          </p:nvSpPr>
          <p:spPr>
            <a:xfrm>
              <a:off x="1507224" y="4071849"/>
              <a:ext cx="543739" cy="94301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da-DK" sz="5528" spc="0" baseline="0">
                  <a:solidFill>
                    <a:srgbClr val="154573"/>
                  </a:solidFill>
                  <a:latin typeface="Manus"/>
                  <a:sym typeface="Manus"/>
                  <a:rtl val="0"/>
                </a:rPr>
                <a:t>1</a:t>
              </a:r>
            </a:p>
          </p:txBody>
        </p:sp>
        <p:sp>
          <p:nvSpPr>
            <p:cNvPr id="16" name="Kombinationstegning 15">
              <a:extLst>
                <a:ext uri="{FF2B5EF4-FFF2-40B4-BE49-F238E27FC236}">
                  <a16:creationId xmlns:a16="http://schemas.microsoft.com/office/drawing/2014/main" id="{38AA8925-755B-CC44-9D77-ABBFFB5873C3}"/>
                </a:ext>
              </a:extLst>
            </p:cNvPr>
            <p:cNvSpPr/>
            <p:nvPr/>
          </p:nvSpPr>
          <p:spPr>
            <a:xfrm>
              <a:off x="1423875" y="4157643"/>
              <a:ext cx="572723" cy="608067"/>
            </a:xfrm>
            <a:custGeom>
              <a:avLst/>
              <a:gdLst>
                <a:gd name="connsiteX0" fmla="*/ 17465 w 572723"/>
                <a:gd name="connsiteY0" fmla="*/ 206977 h 608067"/>
                <a:gd name="connsiteX1" fmla="*/ 15460 w 572723"/>
                <a:gd name="connsiteY1" fmla="*/ 213996 h 608067"/>
                <a:gd name="connsiteX2" fmla="*/ 40533 w 572723"/>
                <a:gd name="connsiteY2" fmla="*/ 142802 h 608067"/>
                <a:gd name="connsiteX3" fmla="*/ 6433 w 572723"/>
                <a:gd name="connsiteY3" fmla="*/ 223020 h 608067"/>
                <a:gd name="connsiteX4" fmla="*/ 8439 w 572723"/>
                <a:gd name="connsiteY4" fmla="*/ 300230 h 608067"/>
                <a:gd name="connsiteX5" fmla="*/ 415 w 572723"/>
                <a:gd name="connsiteY5" fmla="*/ 331315 h 608067"/>
                <a:gd name="connsiteX6" fmla="*/ 1418 w 572723"/>
                <a:gd name="connsiteY6" fmla="*/ 359391 h 608067"/>
                <a:gd name="connsiteX7" fmla="*/ 10445 w 572723"/>
                <a:gd name="connsiteY7" fmla="*/ 392481 h 608067"/>
                <a:gd name="connsiteX8" fmla="*/ 4427 w 572723"/>
                <a:gd name="connsiteY8" fmla="*/ 369418 h 608067"/>
                <a:gd name="connsiteX9" fmla="*/ 10445 w 572723"/>
                <a:gd name="connsiteY9" fmla="*/ 392481 h 608067"/>
                <a:gd name="connsiteX10" fmla="*/ 29501 w 572723"/>
                <a:gd name="connsiteY10" fmla="*/ 445626 h 608067"/>
                <a:gd name="connsiteX11" fmla="*/ 60592 w 572723"/>
                <a:gd name="connsiteY11" fmla="*/ 496765 h 608067"/>
                <a:gd name="connsiteX12" fmla="*/ 156874 w 572723"/>
                <a:gd name="connsiteY12" fmla="*/ 569964 h 608067"/>
                <a:gd name="connsiteX13" fmla="*/ 257167 w 572723"/>
                <a:gd name="connsiteY13" fmla="*/ 601048 h 608067"/>
                <a:gd name="connsiteX14" fmla="*/ 317343 w 572723"/>
                <a:gd name="connsiteY14" fmla="*/ 608067 h 608067"/>
                <a:gd name="connsiteX15" fmla="*/ 364481 w 572723"/>
                <a:gd name="connsiteY15" fmla="*/ 607064 h 608067"/>
                <a:gd name="connsiteX16" fmla="*/ 385543 w 572723"/>
                <a:gd name="connsiteY16" fmla="*/ 604056 h 608067"/>
                <a:gd name="connsiteX17" fmla="*/ 362476 w 572723"/>
                <a:gd name="connsiteY17" fmla="*/ 606062 h 608067"/>
                <a:gd name="connsiteX18" fmla="*/ 438699 w 572723"/>
                <a:gd name="connsiteY18" fmla="*/ 578988 h 608067"/>
                <a:gd name="connsiteX19" fmla="*/ 422652 w 572723"/>
                <a:gd name="connsiteY19" fmla="*/ 580994 h 608067"/>
                <a:gd name="connsiteX20" fmla="*/ 434687 w 572723"/>
                <a:gd name="connsiteY20" fmla="*/ 576983 h 608067"/>
                <a:gd name="connsiteX21" fmla="*/ 476810 w 572723"/>
                <a:gd name="connsiteY21" fmla="*/ 546901 h 608067"/>
                <a:gd name="connsiteX22" fmla="*/ 490852 w 572723"/>
                <a:gd name="connsiteY22" fmla="*/ 537876 h 608067"/>
                <a:gd name="connsiteX23" fmla="*/ 487843 w 572723"/>
                <a:gd name="connsiteY23" fmla="*/ 538879 h 608067"/>
                <a:gd name="connsiteX24" fmla="*/ 521943 w 572723"/>
                <a:gd name="connsiteY24" fmla="*/ 498770 h 608067"/>
                <a:gd name="connsiteX25" fmla="*/ 543004 w 572723"/>
                <a:gd name="connsiteY25" fmla="*/ 454650 h 608067"/>
                <a:gd name="connsiteX26" fmla="*/ 547016 w 572723"/>
                <a:gd name="connsiteY26" fmla="*/ 446628 h 608067"/>
                <a:gd name="connsiteX27" fmla="*/ 553034 w 572723"/>
                <a:gd name="connsiteY27" fmla="*/ 419555 h 608067"/>
                <a:gd name="connsiteX28" fmla="*/ 559051 w 572723"/>
                <a:gd name="connsiteY28" fmla="*/ 411533 h 608067"/>
                <a:gd name="connsiteX29" fmla="*/ 566072 w 572723"/>
                <a:gd name="connsiteY29" fmla="*/ 352372 h 608067"/>
                <a:gd name="connsiteX30" fmla="*/ 571086 w 572723"/>
                <a:gd name="connsiteY30" fmla="*/ 246083 h 608067"/>
                <a:gd name="connsiteX31" fmla="*/ 528963 w 572723"/>
                <a:gd name="connsiteY31" fmla="*/ 144808 h 608067"/>
                <a:gd name="connsiteX32" fmla="*/ 528963 w 572723"/>
                <a:gd name="connsiteY32" fmla="*/ 146813 h 608067"/>
                <a:gd name="connsiteX33" fmla="*/ 469790 w 572723"/>
                <a:gd name="connsiteY33" fmla="*/ 96677 h 608067"/>
                <a:gd name="connsiteX34" fmla="*/ 437696 w 572723"/>
                <a:gd name="connsiteY34" fmla="*/ 83642 h 608067"/>
                <a:gd name="connsiteX35" fmla="*/ 422652 w 572723"/>
                <a:gd name="connsiteY35" fmla="*/ 80633 h 608067"/>
                <a:gd name="connsiteX36" fmla="*/ 412622 w 572723"/>
                <a:gd name="connsiteY36" fmla="*/ 80633 h 608067"/>
                <a:gd name="connsiteX37" fmla="*/ 397578 w 572723"/>
                <a:gd name="connsiteY37" fmla="*/ 77625 h 608067"/>
                <a:gd name="connsiteX38" fmla="*/ 384540 w 572723"/>
                <a:gd name="connsiteY38" fmla="*/ 76622 h 608067"/>
                <a:gd name="connsiteX39" fmla="*/ 372505 w 572723"/>
                <a:gd name="connsiteY39" fmla="*/ 76622 h 608067"/>
                <a:gd name="connsiteX40" fmla="*/ 357461 w 572723"/>
                <a:gd name="connsiteY40" fmla="*/ 77625 h 608067"/>
                <a:gd name="connsiteX41" fmla="*/ 350440 w 572723"/>
                <a:gd name="connsiteY41" fmla="*/ 80633 h 608067"/>
                <a:gd name="connsiteX42" fmla="*/ 347432 w 572723"/>
                <a:gd name="connsiteY42" fmla="*/ 82639 h 608067"/>
                <a:gd name="connsiteX43" fmla="*/ 374511 w 572723"/>
                <a:gd name="connsiteY43" fmla="*/ 85647 h 608067"/>
                <a:gd name="connsiteX44" fmla="*/ 374511 w 572723"/>
                <a:gd name="connsiteY44" fmla="*/ 84644 h 608067"/>
                <a:gd name="connsiteX45" fmla="*/ 451737 w 572723"/>
                <a:gd name="connsiteY45" fmla="*/ 115729 h 608067"/>
                <a:gd name="connsiteX46" fmla="*/ 507901 w 572723"/>
                <a:gd name="connsiteY46" fmla="*/ 175892 h 608067"/>
                <a:gd name="connsiteX47" fmla="*/ 528963 w 572723"/>
                <a:gd name="connsiteY47" fmla="*/ 228034 h 608067"/>
                <a:gd name="connsiteX48" fmla="*/ 531972 w 572723"/>
                <a:gd name="connsiteY48" fmla="*/ 288198 h 608067"/>
                <a:gd name="connsiteX49" fmla="*/ 524951 w 572723"/>
                <a:gd name="connsiteY49" fmla="*/ 357386 h 608067"/>
                <a:gd name="connsiteX50" fmla="*/ 513919 w 572723"/>
                <a:gd name="connsiteY50" fmla="*/ 420557 h 608067"/>
                <a:gd name="connsiteX51" fmla="*/ 503890 w 572723"/>
                <a:gd name="connsiteY51" fmla="*/ 441615 h 608067"/>
                <a:gd name="connsiteX52" fmla="*/ 477813 w 572723"/>
                <a:gd name="connsiteY52" fmla="*/ 489746 h 608067"/>
                <a:gd name="connsiteX53" fmla="*/ 434687 w 572723"/>
                <a:gd name="connsiteY53" fmla="*/ 527849 h 608067"/>
                <a:gd name="connsiteX54" fmla="*/ 436693 w 572723"/>
                <a:gd name="connsiteY54" fmla="*/ 526846 h 608067"/>
                <a:gd name="connsiteX55" fmla="*/ 385543 w 572723"/>
                <a:gd name="connsiteY55" fmla="*/ 545898 h 608067"/>
                <a:gd name="connsiteX56" fmla="*/ 381531 w 572723"/>
                <a:gd name="connsiteY56" fmla="*/ 547904 h 608067"/>
                <a:gd name="connsiteX57" fmla="*/ 361473 w 572723"/>
                <a:gd name="connsiteY57" fmla="*/ 550912 h 608067"/>
                <a:gd name="connsiteX58" fmla="*/ 320352 w 572723"/>
                <a:gd name="connsiteY58" fmla="*/ 556928 h 608067"/>
                <a:gd name="connsiteX59" fmla="*/ 254158 w 572723"/>
                <a:gd name="connsiteY59" fmla="*/ 553920 h 608067"/>
                <a:gd name="connsiteX60" fmla="*/ 247138 w 572723"/>
                <a:gd name="connsiteY60" fmla="*/ 552917 h 608067"/>
                <a:gd name="connsiteX61" fmla="*/ 184956 w 572723"/>
                <a:gd name="connsiteY61" fmla="*/ 529855 h 608067"/>
                <a:gd name="connsiteX62" fmla="*/ 133806 w 572723"/>
                <a:gd name="connsiteY62" fmla="*/ 500776 h 608067"/>
                <a:gd name="connsiteX63" fmla="*/ 112744 w 572723"/>
                <a:gd name="connsiteY63" fmla="*/ 490748 h 608067"/>
                <a:gd name="connsiteX64" fmla="*/ 100709 w 572723"/>
                <a:gd name="connsiteY64" fmla="*/ 480721 h 608067"/>
                <a:gd name="connsiteX65" fmla="*/ 87671 w 572723"/>
                <a:gd name="connsiteY65" fmla="*/ 464677 h 608067"/>
                <a:gd name="connsiteX66" fmla="*/ 64603 w 572723"/>
                <a:gd name="connsiteY66" fmla="*/ 425571 h 608067"/>
                <a:gd name="connsiteX67" fmla="*/ 56580 w 572723"/>
                <a:gd name="connsiteY67" fmla="*/ 407522 h 608067"/>
                <a:gd name="connsiteX68" fmla="*/ 55577 w 572723"/>
                <a:gd name="connsiteY68" fmla="*/ 395489 h 608067"/>
                <a:gd name="connsiteX69" fmla="*/ 51565 w 572723"/>
                <a:gd name="connsiteY69" fmla="*/ 369418 h 608067"/>
                <a:gd name="connsiteX70" fmla="*/ 47553 w 572723"/>
                <a:gd name="connsiteY70" fmla="*/ 347358 h 608067"/>
                <a:gd name="connsiteX71" fmla="*/ 43542 w 572723"/>
                <a:gd name="connsiteY71" fmla="*/ 325299 h 608067"/>
                <a:gd name="connsiteX72" fmla="*/ 43542 w 572723"/>
                <a:gd name="connsiteY72" fmla="*/ 328307 h 608067"/>
                <a:gd name="connsiteX73" fmla="*/ 48556 w 572723"/>
                <a:gd name="connsiteY73" fmla="*/ 280176 h 608067"/>
                <a:gd name="connsiteX74" fmla="*/ 61595 w 572723"/>
                <a:gd name="connsiteY74" fmla="*/ 205974 h 608067"/>
                <a:gd name="connsiteX75" fmla="*/ 89677 w 572723"/>
                <a:gd name="connsiteY75" fmla="*/ 139794 h 608067"/>
                <a:gd name="connsiteX76" fmla="*/ 82656 w 572723"/>
                <a:gd name="connsiteY76" fmla="*/ 147816 h 608067"/>
                <a:gd name="connsiteX77" fmla="*/ 132803 w 572723"/>
                <a:gd name="connsiteY77" fmla="*/ 87652 h 608067"/>
                <a:gd name="connsiteX78" fmla="*/ 143835 w 572723"/>
                <a:gd name="connsiteY78" fmla="*/ 81636 h 608067"/>
                <a:gd name="connsiteX79" fmla="*/ 151859 w 572723"/>
                <a:gd name="connsiteY79" fmla="*/ 74617 h 608067"/>
                <a:gd name="connsiteX80" fmla="*/ 153865 w 572723"/>
                <a:gd name="connsiteY80" fmla="*/ 75620 h 608067"/>
                <a:gd name="connsiteX81" fmla="*/ 171918 w 572723"/>
                <a:gd name="connsiteY81" fmla="*/ 64590 h 608067"/>
                <a:gd name="connsiteX82" fmla="*/ 176932 w 572723"/>
                <a:gd name="connsiteY82" fmla="*/ 60579 h 608067"/>
                <a:gd name="connsiteX83" fmla="*/ 184956 w 572723"/>
                <a:gd name="connsiteY83" fmla="*/ 58573 h 608067"/>
                <a:gd name="connsiteX84" fmla="*/ 184956 w 572723"/>
                <a:gd name="connsiteY84" fmla="*/ 58573 h 608067"/>
                <a:gd name="connsiteX85" fmla="*/ 189970 w 572723"/>
                <a:gd name="connsiteY85" fmla="*/ 56568 h 608067"/>
                <a:gd name="connsiteX86" fmla="*/ 206018 w 572723"/>
                <a:gd name="connsiteY86" fmla="*/ 45538 h 608067"/>
                <a:gd name="connsiteX87" fmla="*/ 223067 w 572723"/>
                <a:gd name="connsiteY87" fmla="*/ 35511 h 608067"/>
                <a:gd name="connsiteX88" fmla="*/ 225073 w 572723"/>
                <a:gd name="connsiteY88" fmla="*/ 35511 h 608067"/>
                <a:gd name="connsiteX89" fmla="*/ 228082 w 572723"/>
                <a:gd name="connsiteY89" fmla="*/ 32503 h 608067"/>
                <a:gd name="connsiteX90" fmla="*/ 234100 w 572723"/>
                <a:gd name="connsiteY90" fmla="*/ 31500 h 608067"/>
                <a:gd name="connsiteX91" fmla="*/ 233097 w 572723"/>
                <a:gd name="connsiteY91" fmla="*/ 31500 h 608067"/>
                <a:gd name="connsiteX92" fmla="*/ 239114 w 572723"/>
                <a:gd name="connsiteY92" fmla="*/ 30497 h 608067"/>
                <a:gd name="connsiteX93" fmla="*/ 240117 w 572723"/>
                <a:gd name="connsiteY93" fmla="*/ 32503 h 608067"/>
                <a:gd name="connsiteX94" fmla="*/ 250147 w 572723"/>
                <a:gd name="connsiteY94" fmla="*/ 30497 h 608067"/>
                <a:gd name="connsiteX95" fmla="*/ 219056 w 572723"/>
                <a:gd name="connsiteY95" fmla="*/ 31500 h 608067"/>
                <a:gd name="connsiteX96" fmla="*/ 234100 w 572723"/>
                <a:gd name="connsiteY96" fmla="*/ 27489 h 608067"/>
                <a:gd name="connsiteX97" fmla="*/ 245132 w 572723"/>
                <a:gd name="connsiteY97" fmla="*/ 27489 h 608067"/>
                <a:gd name="connsiteX98" fmla="*/ 258170 w 572723"/>
                <a:gd name="connsiteY98" fmla="*/ 27489 h 608067"/>
                <a:gd name="connsiteX99" fmla="*/ 265191 w 572723"/>
                <a:gd name="connsiteY99" fmla="*/ 25483 h 608067"/>
                <a:gd name="connsiteX100" fmla="*/ 273214 w 572723"/>
                <a:gd name="connsiteY100" fmla="*/ 26486 h 608067"/>
                <a:gd name="connsiteX101" fmla="*/ 261179 w 572723"/>
                <a:gd name="connsiteY101" fmla="*/ 27489 h 608067"/>
                <a:gd name="connsiteX102" fmla="*/ 266194 w 572723"/>
                <a:gd name="connsiteY102" fmla="*/ 28492 h 608067"/>
                <a:gd name="connsiteX103" fmla="*/ 273214 w 572723"/>
                <a:gd name="connsiteY103" fmla="*/ 28492 h 608067"/>
                <a:gd name="connsiteX104" fmla="*/ 287255 w 572723"/>
                <a:gd name="connsiteY104" fmla="*/ 28492 h 608067"/>
                <a:gd name="connsiteX105" fmla="*/ 293273 w 572723"/>
                <a:gd name="connsiteY105" fmla="*/ 31500 h 608067"/>
                <a:gd name="connsiteX106" fmla="*/ 297285 w 572723"/>
                <a:gd name="connsiteY106" fmla="*/ 30497 h 608067"/>
                <a:gd name="connsiteX107" fmla="*/ 289261 w 572723"/>
                <a:gd name="connsiteY107" fmla="*/ 25483 h 608067"/>
                <a:gd name="connsiteX108" fmla="*/ 300294 w 572723"/>
                <a:gd name="connsiteY108" fmla="*/ 27489 h 608067"/>
                <a:gd name="connsiteX109" fmla="*/ 300294 w 572723"/>
                <a:gd name="connsiteY109" fmla="*/ 25483 h 608067"/>
                <a:gd name="connsiteX110" fmla="*/ 310323 w 572723"/>
                <a:gd name="connsiteY110" fmla="*/ 27489 h 608067"/>
                <a:gd name="connsiteX111" fmla="*/ 307314 w 572723"/>
                <a:gd name="connsiteY111" fmla="*/ 26486 h 608067"/>
                <a:gd name="connsiteX112" fmla="*/ 296282 w 572723"/>
                <a:gd name="connsiteY112" fmla="*/ 28492 h 608067"/>
                <a:gd name="connsiteX113" fmla="*/ 286252 w 572723"/>
                <a:gd name="connsiteY113" fmla="*/ 30497 h 608067"/>
                <a:gd name="connsiteX114" fmla="*/ 299291 w 572723"/>
                <a:gd name="connsiteY114" fmla="*/ 27489 h 608067"/>
                <a:gd name="connsiteX115" fmla="*/ 311326 w 572723"/>
                <a:gd name="connsiteY115" fmla="*/ 26486 h 608067"/>
                <a:gd name="connsiteX116" fmla="*/ 311326 w 572723"/>
                <a:gd name="connsiteY116" fmla="*/ 23478 h 608067"/>
                <a:gd name="connsiteX117" fmla="*/ 307314 w 572723"/>
                <a:gd name="connsiteY117" fmla="*/ 24481 h 608067"/>
                <a:gd name="connsiteX118" fmla="*/ 303302 w 572723"/>
                <a:gd name="connsiteY118" fmla="*/ 20470 h 608067"/>
                <a:gd name="connsiteX119" fmla="*/ 296282 w 572723"/>
                <a:gd name="connsiteY119" fmla="*/ 23478 h 608067"/>
                <a:gd name="connsiteX120" fmla="*/ 288258 w 572723"/>
                <a:gd name="connsiteY120" fmla="*/ 25483 h 608067"/>
                <a:gd name="connsiteX121" fmla="*/ 286252 w 572723"/>
                <a:gd name="connsiteY121" fmla="*/ 24481 h 608067"/>
                <a:gd name="connsiteX122" fmla="*/ 298288 w 572723"/>
                <a:gd name="connsiteY122" fmla="*/ 25483 h 608067"/>
                <a:gd name="connsiteX123" fmla="*/ 305308 w 572723"/>
                <a:gd name="connsiteY123" fmla="*/ 24481 h 608067"/>
                <a:gd name="connsiteX124" fmla="*/ 306311 w 572723"/>
                <a:gd name="connsiteY124" fmla="*/ 24481 h 608067"/>
                <a:gd name="connsiteX125" fmla="*/ 312329 w 572723"/>
                <a:gd name="connsiteY125" fmla="*/ 23478 h 608067"/>
                <a:gd name="connsiteX126" fmla="*/ 310323 w 572723"/>
                <a:gd name="connsiteY126" fmla="*/ 16459 h 608067"/>
                <a:gd name="connsiteX127" fmla="*/ 309320 w 572723"/>
                <a:gd name="connsiteY127" fmla="*/ 9440 h 608067"/>
                <a:gd name="connsiteX128" fmla="*/ 298288 w 572723"/>
                <a:gd name="connsiteY128" fmla="*/ 10443 h 608067"/>
                <a:gd name="connsiteX129" fmla="*/ 288258 w 572723"/>
                <a:gd name="connsiteY129" fmla="*/ 6432 h 608067"/>
                <a:gd name="connsiteX130" fmla="*/ 284246 w 572723"/>
                <a:gd name="connsiteY130" fmla="*/ 7434 h 608067"/>
                <a:gd name="connsiteX131" fmla="*/ 277226 w 572723"/>
                <a:gd name="connsiteY131" fmla="*/ 4426 h 608067"/>
                <a:gd name="connsiteX132" fmla="*/ 266194 w 572723"/>
                <a:gd name="connsiteY132" fmla="*/ 4426 h 608067"/>
                <a:gd name="connsiteX133" fmla="*/ 263185 w 572723"/>
                <a:gd name="connsiteY133" fmla="*/ 6432 h 608067"/>
                <a:gd name="connsiteX134" fmla="*/ 243126 w 572723"/>
                <a:gd name="connsiteY134" fmla="*/ 7434 h 608067"/>
                <a:gd name="connsiteX135" fmla="*/ 239114 w 572723"/>
                <a:gd name="connsiteY135" fmla="*/ 2421 h 608067"/>
                <a:gd name="connsiteX136" fmla="*/ 246135 w 572723"/>
                <a:gd name="connsiteY136" fmla="*/ 4426 h 608067"/>
                <a:gd name="connsiteX137" fmla="*/ 256164 w 572723"/>
                <a:gd name="connsiteY137" fmla="*/ 415 h 608067"/>
                <a:gd name="connsiteX138" fmla="*/ 241120 w 572723"/>
                <a:gd name="connsiteY138" fmla="*/ 1418 h 608067"/>
                <a:gd name="connsiteX139" fmla="*/ 242123 w 572723"/>
                <a:gd name="connsiteY139" fmla="*/ 1418 h 608067"/>
                <a:gd name="connsiteX140" fmla="*/ 222064 w 572723"/>
                <a:gd name="connsiteY140" fmla="*/ 4426 h 608067"/>
                <a:gd name="connsiteX141" fmla="*/ 224070 w 572723"/>
                <a:gd name="connsiteY141" fmla="*/ 1418 h 608067"/>
                <a:gd name="connsiteX142" fmla="*/ 217050 w 572723"/>
                <a:gd name="connsiteY142" fmla="*/ 2421 h 608067"/>
                <a:gd name="connsiteX143" fmla="*/ 217050 w 572723"/>
                <a:gd name="connsiteY143" fmla="*/ 3424 h 608067"/>
                <a:gd name="connsiteX144" fmla="*/ 208023 w 572723"/>
                <a:gd name="connsiteY144" fmla="*/ 5429 h 608067"/>
                <a:gd name="connsiteX145" fmla="*/ 191976 w 572723"/>
                <a:gd name="connsiteY145" fmla="*/ 13451 h 608067"/>
                <a:gd name="connsiteX146" fmla="*/ 177935 w 572723"/>
                <a:gd name="connsiteY146" fmla="*/ 22475 h 608067"/>
                <a:gd name="connsiteX147" fmla="*/ 167906 w 572723"/>
                <a:gd name="connsiteY147" fmla="*/ 26486 h 608067"/>
                <a:gd name="connsiteX148" fmla="*/ 173923 w 572723"/>
                <a:gd name="connsiteY148" fmla="*/ 23478 h 608067"/>
                <a:gd name="connsiteX149" fmla="*/ 186962 w 572723"/>
                <a:gd name="connsiteY149" fmla="*/ 15456 h 608067"/>
                <a:gd name="connsiteX150" fmla="*/ 200000 w 572723"/>
                <a:gd name="connsiteY150" fmla="*/ 8437 h 608067"/>
                <a:gd name="connsiteX151" fmla="*/ 203009 w 572723"/>
                <a:gd name="connsiteY151" fmla="*/ 6432 h 608067"/>
                <a:gd name="connsiteX152" fmla="*/ 192979 w 572723"/>
                <a:gd name="connsiteY152" fmla="*/ 10443 h 608067"/>
                <a:gd name="connsiteX153" fmla="*/ 175929 w 572723"/>
                <a:gd name="connsiteY153" fmla="*/ 19467 h 608067"/>
                <a:gd name="connsiteX154" fmla="*/ 159882 w 572723"/>
                <a:gd name="connsiteY154" fmla="*/ 29494 h 608067"/>
                <a:gd name="connsiteX155" fmla="*/ 151859 w 572723"/>
                <a:gd name="connsiteY155" fmla="*/ 34508 h 608067"/>
                <a:gd name="connsiteX156" fmla="*/ 146844 w 572723"/>
                <a:gd name="connsiteY156" fmla="*/ 39522 h 608067"/>
                <a:gd name="connsiteX157" fmla="*/ 142832 w 572723"/>
                <a:gd name="connsiteY157" fmla="*/ 38519 h 608067"/>
                <a:gd name="connsiteX158" fmla="*/ 141829 w 572723"/>
                <a:gd name="connsiteY158" fmla="*/ 39522 h 608067"/>
                <a:gd name="connsiteX159" fmla="*/ 137818 w 572723"/>
                <a:gd name="connsiteY159" fmla="*/ 40524 h 608067"/>
                <a:gd name="connsiteX160" fmla="*/ 124780 w 572723"/>
                <a:gd name="connsiteY160" fmla="*/ 50552 h 608067"/>
                <a:gd name="connsiteX161" fmla="*/ 112744 w 572723"/>
                <a:gd name="connsiteY161" fmla="*/ 62584 h 608067"/>
                <a:gd name="connsiteX162" fmla="*/ 118762 w 572723"/>
                <a:gd name="connsiteY162" fmla="*/ 50552 h 608067"/>
                <a:gd name="connsiteX163" fmla="*/ 119765 w 572723"/>
                <a:gd name="connsiteY163" fmla="*/ 50552 h 608067"/>
                <a:gd name="connsiteX164" fmla="*/ 122774 w 572723"/>
                <a:gd name="connsiteY164" fmla="*/ 45538 h 608067"/>
                <a:gd name="connsiteX165" fmla="*/ 109736 w 572723"/>
                <a:gd name="connsiteY165" fmla="*/ 57571 h 608067"/>
                <a:gd name="connsiteX166" fmla="*/ 106727 w 572723"/>
                <a:gd name="connsiteY166" fmla="*/ 59576 h 608067"/>
                <a:gd name="connsiteX167" fmla="*/ 106727 w 572723"/>
                <a:gd name="connsiteY167" fmla="*/ 59576 h 608067"/>
                <a:gd name="connsiteX168" fmla="*/ 104721 w 572723"/>
                <a:gd name="connsiteY168" fmla="*/ 59576 h 608067"/>
                <a:gd name="connsiteX169" fmla="*/ 104721 w 572723"/>
                <a:gd name="connsiteY169" fmla="*/ 58573 h 608067"/>
                <a:gd name="connsiteX170" fmla="*/ 93688 w 572723"/>
                <a:gd name="connsiteY170" fmla="*/ 68601 h 608067"/>
                <a:gd name="connsiteX171" fmla="*/ 80650 w 572723"/>
                <a:gd name="connsiteY171" fmla="*/ 84644 h 608067"/>
                <a:gd name="connsiteX172" fmla="*/ 78644 w 572723"/>
                <a:gd name="connsiteY172" fmla="*/ 88655 h 608067"/>
                <a:gd name="connsiteX173" fmla="*/ 58586 w 572723"/>
                <a:gd name="connsiteY173" fmla="*/ 112721 h 608067"/>
                <a:gd name="connsiteX174" fmla="*/ 61595 w 572723"/>
                <a:gd name="connsiteY174" fmla="*/ 113723 h 608067"/>
                <a:gd name="connsiteX175" fmla="*/ 56580 w 572723"/>
                <a:gd name="connsiteY175" fmla="*/ 121745 h 608067"/>
                <a:gd name="connsiteX176" fmla="*/ 51565 w 572723"/>
                <a:gd name="connsiteY176" fmla="*/ 123751 h 608067"/>
                <a:gd name="connsiteX177" fmla="*/ 46550 w 572723"/>
                <a:gd name="connsiteY177" fmla="*/ 124753 h 608067"/>
                <a:gd name="connsiteX178" fmla="*/ 40533 w 572723"/>
                <a:gd name="connsiteY178" fmla="*/ 136786 h 608067"/>
                <a:gd name="connsiteX179" fmla="*/ 39530 w 572723"/>
                <a:gd name="connsiteY179" fmla="*/ 144808 h 608067"/>
                <a:gd name="connsiteX180" fmla="*/ 31506 w 572723"/>
                <a:gd name="connsiteY180" fmla="*/ 156841 h 608067"/>
                <a:gd name="connsiteX181" fmla="*/ 29501 w 572723"/>
                <a:gd name="connsiteY181" fmla="*/ 154835 h 608067"/>
                <a:gd name="connsiteX182" fmla="*/ 19471 w 572723"/>
                <a:gd name="connsiteY182" fmla="*/ 173887 h 608067"/>
                <a:gd name="connsiteX183" fmla="*/ 16462 w 572723"/>
                <a:gd name="connsiteY183" fmla="*/ 194944 h 608067"/>
                <a:gd name="connsiteX184" fmla="*/ 17465 w 572723"/>
                <a:gd name="connsiteY184" fmla="*/ 206977 h 608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</a:cxnLst>
              <a:rect l="l" t="t" r="r" b="b"/>
              <a:pathLst>
                <a:path w="572723" h="608067">
                  <a:moveTo>
                    <a:pt x="17465" y="206977"/>
                  </a:moveTo>
                  <a:lnTo>
                    <a:pt x="15460" y="213996"/>
                  </a:lnTo>
                  <a:cubicBezTo>
                    <a:pt x="20474" y="189931"/>
                    <a:pt x="29501" y="165865"/>
                    <a:pt x="40533" y="142802"/>
                  </a:cubicBezTo>
                  <a:cubicBezTo>
                    <a:pt x="25489" y="165865"/>
                    <a:pt x="12451" y="194944"/>
                    <a:pt x="6433" y="223020"/>
                  </a:cubicBezTo>
                  <a:cubicBezTo>
                    <a:pt x="415" y="251097"/>
                    <a:pt x="1418" y="279173"/>
                    <a:pt x="8439" y="300230"/>
                  </a:cubicBezTo>
                  <a:cubicBezTo>
                    <a:pt x="4427" y="302236"/>
                    <a:pt x="1418" y="317277"/>
                    <a:pt x="415" y="331315"/>
                  </a:cubicBezTo>
                  <a:cubicBezTo>
                    <a:pt x="-588" y="345353"/>
                    <a:pt x="415" y="359391"/>
                    <a:pt x="1418" y="359391"/>
                  </a:cubicBezTo>
                  <a:cubicBezTo>
                    <a:pt x="4427" y="370421"/>
                    <a:pt x="7436" y="381451"/>
                    <a:pt x="10445" y="392481"/>
                  </a:cubicBezTo>
                  <a:cubicBezTo>
                    <a:pt x="8439" y="384459"/>
                    <a:pt x="6433" y="377440"/>
                    <a:pt x="4427" y="369418"/>
                  </a:cubicBezTo>
                  <a:cubicBezTo>
                    <a:pt x="6433" y="376438"/>
                    <a:pt x="8439" y="384459"/>
                    <a:pt x="10445" y="392481"/>
                  </a:cubicBezTo>
                  <a:cubicBezTo>
                    <a:pt x="15460" y="409528"/>
                    <a:pt x="21477" y="427577"/>
                    <a:pt x="29501" y="445626"/>
                  </a:cubicBezTo>
                  <a:cubicBezTo>
                    <a:pt x="37524" y="463675"/>
                    <a:pt x="47553" y="480721"/>
                    <a:pt x="60592" y="496765"/>
                  </a:cubicBezTo>
                  <a:cubicBezTo>
                    <a:pt x="86668" y="527849"/>
                    <a:pt x="120768" y="551915"/>
                    <a:pt x="156874" y="569964"/>
                  </a:cubicBezTo>
                  <a:cubicBezTo>
                    <a:pt x="176932" y="579991"/>
                    <a:pt x="216047" y="594029"/>
                    <a:pt x="257167" y="601048"/>
                  </a:cubicBezTo>
                  <a:cubicBezTo>
                    <a:pt x="278229" y="605059"/>
                    <a:pt x="299291" y="607064"/>
                    <a:pt x="317343" y="608067"/>
                  </a:cubicBezTo>
                  <a:cubicBezTo>
                    <a:pt x="336399" y="608067"/>
                    <a:pt x="353449" y="608067"/>
                    <a:pt x="364481" y="607064"/>
                  </a:cubicBezTo>
                  <a:cubicBezTo>
                    <a:pt x="371502" y="606062"/>
                    <a:pt x="378523" y="606062"/>
                    <a:pt x="385543" y="604056"/>
                  </a:cubicBezTo>
                  <a:cubicBezTo>
                    <a:pt x="373508" y="606062"/>
                    <a:pt x="373508" y="605059"/>
                    <a:pt x="362476" y="606062"/>
                  </a:cubicBezTo>
                  <a:cubicBezTo>
                    <a:pt x="390558" y="600045"/>
                    <a:pt x="415631" y="591021"/>
                    <a:pt x="438699" y="578988"/>
                  </a:cubicBezTo>
                  <a:cubicBezTo>
                    <a:pt x="433684" y="579991"/>
                    <a:pt x="432681" y="578988"/>
                    <a:pt x="422652" y="580994"/>
                  </a:cubicBezTo>
                  <a:cubicBezTo>
                    <a:pt x="426664" y="579991"/>
                    <a:pt x="430675" y="578988"/>
                    <a:pt x="434687" y="576983"/>
                  </a:cubicBezTo>
                  <a:cubicBezTo>
                    <a:pt x="444716" y="569964"/>
                    <a:pt x="467784" y="555925"/>
                    <a:pt x="476810" y="546901"/>
                  </a:cubicBezTo>
                  <a:cubicBezTo>
                    <a:pt x="475807" y="549909"/>
                    <a:pt x="483831" y="543893"/>
                    <a:pt x="490852" y="537876"/>
                  </a:cubicBezTo>
                  <a:lnTo>
                    <a:pt x="487843" y="538879"/>
                  </a:lnTo>
                  <a:cubicBezTo>
                    <a:pt x="500881" y="527849"/>
                    <a:pt x="512916" y="513811"/>
                    <a:pt x="521943" y="498770"/>
                  </a:cubicBezTo>
                  <a:cubicBezTo>
                    <a:pt x="530969" y="483729"/>
                    <a:pt x="537990" y="467686"/>
                    <a:pt x="543004" y="454650"/>
                  </a:cubicBezTo>
                  <a:cubicBezTo>
                    <a:pt x="544007" y="450639"/>
                    <a:pt x="546013" y="448634"/>
                    <a:pt x="547016" y="446628"/>
                  </a:cubicBezTo>
                  <a:cubicBezTo>
                    <a:pt x="549022" y="437604"/>
                    <a:pt x="552031" y="428579"/>
                    <a:pt x="553034" y="419555"/>
                  </a:cubicBezTo>
                  <a:cubicBezTo>
                    <a:pt x="555039" y="422563"/>
                    <a:pt x="560054" y="397495"/>
                    <a:pt x="559051" y="411533"/>
                  </a:cubicBezTo>
                  <a:cubicBezTo>
                    <a:pt x="561057" y="390476"/>
                    <a:pt x="566072" y="371424"/>
                    <a:pt x="566072" y="352372"/>
                  </a:cubicBezTo>
                  <a:cubicBezTo>
                    <a:pt x="571086" y="319282"/>
                    <a:pt x="575098" y="283184"/>
                    <a:pt x="571086" y="246083"/>
                  </a:cubicBezTo>
                  <a:cubicBezTo>
                    <a:pt x="567075" y="208982"/>
                    <a:pt x="552031" y="171881"/>
                    <a:pt x="528963" y="144808"/>
                  </a:cubicBezTo>
                  <a:lnTo>
                    <a:pt x="528963" y="146813"/>
                  </a:lnTo>
                  <a:cubicBezTo>
                    <a:pt x="512916" y="127761"/>
                    <a:pt x="493860" y="114726"/>
                    <a:pt x="469790" y="96677"/>
                  </a:cubicBezTo>
                  <a:cubicBezTo>
                    <a:pt x="459760" y="91663"/>
                    <a:pt x="447725" y="86650"/>
                    <a:pt x="437696" y="83642"/>
                  </a:cubicBezTo>
                  <a:cubicBezTo>
                    <a:pt x="432681" y="81636"/>
                    <a:pt x="427666" y="80633"/>
                    <a:pt x="422652" y="80633"/>
                  </a:cubicBezTo>
                  <a:cubicBezTo>
                    <a:pt x="418640" y="80633"/>
                    <a:pt x="414628" y="79631"/>
                    <a:pt x="412622" y="80633"/>
                  </a:cubicBezTo>
                  <a:cubicBezTo>
                    <a:pt x="406605" y="79631"/>
                    <a:pt x="401590" y="78628"/>
                    <a:pt x="397578" y="77625"/>
                  </a:cubicBezTo>
                  <a:cubicBezTo>
                    <a:pt x="392564" y="77625"/>
                    <a:pt x="388552" y="76622"/>
                    <a:pt x="384540" y="76622"/>
                  </a:cubicBezTo>
                  <a:cubicBezTo>
                    <a:pt x="380528" y="76622"/>
                    <a:pt x="376517" y="76622"/>
                    <a:pt x="372505" y="76622"/>
                  </a:cubicBezTo>
                  <a:cubicBezTo>
                    <a:pt x="368493" y="76622"/>
                    <a:pt x="363479" y="76622"/>
                    <a:pt x="357461" y="77625"/>
                  </a:cubicBezTo>
                  <a:cubicBezTo>
                    <a:pt x="360470" y="78628"/>
                    <a:pt x="355455" y="79631"/>
                    <a:pt x="350440" y="80633"/>
                  </a:cubicBezTo>
                  <a:cubicBezTo>
                    <a:pt x="346429" y="81636"/>
                    <a:pt x="341414" y="82639"/>
                    <a:pt x="347432" y="82639"/>
                  </a:cubicBezTo>
                  <a:cubicBezTo>
                    <a:pt x="361473" y="85647"/>
                    <a:pt x="362476" y="82639"/>
                    <a:pt x="374511" y="85647"/>
                  </a:cubicBezTo>
                  <a:lnTo>
                    <a:pt x="374511" y="84644"/>
                  </a:lnTo>
                  <a:cubicBezTo>
                    <a:pt x="402593" y="88655"/>
                    <a:pt x="428669" y="99685"/>
                    <a:pt x="451737" y="115729"/>
                  </a:cubicBezTo>
                  <a:cubicBezTo>
                    <a:pt x="474804" y="131772"/>
                    <a:pt x="494863" y="151827"/>
                    <a:pt x="507901" y="175892"/>
                  </a:cubicBezTo>
                  <a:cubicBezTo>
                    <a:pt x="518934" y="190933"/>
                    <a:pt x="525954" y="208982"/>
                    <a:pt x="528963" y="228034"/>
                  </a:cubicBezTo>
                  <a:cubicBezTo>
                    <a:pt x="532975" y="247086"/>
                    <a:pt x="532975" y="268143"/>
                    <a:pt x="531972" y="288198"/>
                  </a:cubicBezTo>
                  <a:cubicBezTo>
                    <a:pt x="530969" y="310258"/>
                    <a:pt x="527960" y="334323"/>
                    <a:pt x="524951" y="357386"/>
                  </a:cubicBezTo>
                  <a:cubicBezTo>
                    <a:pt x="521943" y="380448"/>
                    <a:pt x="518934" y="402508"/>
                    <a:pt x="513919" y="420557"/>
                  </a:cubicBezTo>
                  <a:cubicBezTo>
                    <a:pt x="511913" y="429582"/>
                    <a:pt x="507901" y="434596"/>
                    <a:pt x="503890" y="441615"/>
                  </a:cubicBezTo>
                  <a:cubicBezTo>
                    <a:pt x="497872" y="457658"/>
                    <a:pt x="489849" y="474705"/>
                    <a:pt x="477813" y="489746"/>
                  </a:cubicBezTo>
                  <a:cubicBezTo>
                    <a:pt x="465778" y="504786"/>
                    <a:pt x="450734" y="517822"/>
                    <a:pt x="434687" y="527849"/>
                  </a:cubicBezTo>
                  <a:cubicBezTo>
                    <a:pt x="435690" y="527849"/>
                    <a:pt x="435690" y="526846"/>
                    <a:pt x="436693" y="526846"/>
                  </a:cubicBezTo>
                  <a:cubicBezTo>
                    <a:pt x="419643" y="536874"/>
                    <a:pt x="404599" y="540885"/>
                    <a:pt x="385543" y="545898"/>
                  </a:cubicBezTo>
                  <a:cubicBezTo>
                    <a:pt x="385543" y="546901"/>
                    <a:pt x="382534" y="547904"/>
                    <a:pt x="381531" y="547904"/>
                  </a:cubicBezTo>
                  <a:cubicBezTo>
                    <a:pt x="380528" y="546901"/>
                    <a:pt x="372505" y="548906"/>
                    <a:pt x="361473" y="550912"/>
                  </a:cubicBezTo>
                  <a:cubicBezTo>
                    <a:pt x="350440" y="552917"/>
                    <a:pt x="335396" y="554923"/>
                    <a:pt x="320352" y="556928"/>
                  </a:cubicBezTo>
                  <a:cubicBezTo>
                    <a:pt x="289261" y="558934"/>
                    <a:pt x="257167" y="555925"/>
                    <a:pt x="254158" y="553920"/>
                  </a:cubicBezTo>
                  <a:cubicBezTo>
                    <a:pt x="252153" y="553920"/>
                    <a:pt x="250147" y="552917"/>
                    <a:pt x="247138" y="552917"/>
                  </a:cubicBezTo>
                  <a:cubicBezTo>
                    <a:pt x="226076" y="547904"/>
                    <a:pt x="204012" y="539882"/>
                    <a:pt x="184956" y="529855"/>
                  </a:cubicBezTo>
                  <a:cubicBezTo>
                    <a:pt x="165900" y="520830"/>
                    <a:pt x="148850" y="509800"/>
                    <a:pt x="133806" y="500776"/>
                  </a:cubicBezTo>
                  <a:cubicBezTo>
                    <a:pt x="126785" y="497767"/>
                    <a:pt x="118762" y="493756"/>
                    <a:pt x="112744" y="490748"/>
                  </a:cubicBezTo>
                  <a:cubicBezTo>
                    <a:pt x="108733" y="485735"/>
                    <a:pt x="105724" y="486737"/>
                    <a:pt x="100709" y="480721"/>
                  </a:cubicBezTo>
                  <a:cubicBezTo>
                    <a:pt x="91683" y="462672"/>
                    <a:pt x="84662" y="454650"/>
                    <a:pt x="87671" y="464677"/>
                  </a:cubicBezTo>
                  <a:cubicBezTo>
                    <a:pt x="76639" y="452645"/>
                    <a:pt x="69618" y="438606"/>
                    <a:pt x="64603" y="425571"/>
                  </a:cubicBezTo>
                  <a:cubicBezTo>
                    <a:pt x="61595" y="419555"/>
                    <a:pt x="58586" y="413538"/>
                    <a:pt x="56580" y="407522"/>
                  </a:cubicBezTo>
                  <a:cubicBezTo>
                    <a:pt x="54574" y="402508"/>
                    <a:pt x="54574" y="398497"/>
                    <a:pt x="55577" y="395489"/>
                  </a:cubicBezTo>
                  <a:cubicBezTo>
                    <a:pt x="51565" y="381451"/>
                    <a:pt x="53571" y="385462"/>
                    <a:pt x="51565" y="369418"/>
                  </a:cubicBezTo>
                  <a:cubicBezTo>
                    <a:pt x="52568" y="367413"/>
                    <a:pt x="49559" y="357386"/>
                    <a:pt x="47553" y="347358"/>
                  </a:cubicBezTo>
                  <a:cubicBezTo>
                    <a:pt x="45548" y="337331"/>
                    <a:pt x="43542" y="327304"/>
                    <a:pt x="43542" y="325299"/>
                  </a:cubicBezTo>
                  <a:lnTo>
                    <a:pt x="43542" y="328307"/>
                  </a:lnTo>
                  <a:cubicBezTo>
                    <a:pt x="42539" y="309255"/>
                    <a:pt x="47553" y="297222"/>
                    <a:pt x="48556" y="280176"/>
                  </a:cubicBezTo>
                  <a:cubicBezTo>
                    <a:pt x="50562" y="255108"/>
                    <a:pt x="54574" y="230040"/>
                    <a:pt x="61595" y="205974"/>
                  </a:cubicBezTo>
                  <a:cubicBezTo>
                    <a:pt x="67612" y="181909"/>
                    <a:pt x="77642" y="158846"/>
                    <a:pt x="89677" y="139794"/>
                  </a:cubicBezTo>
                  <a:cubicBezTo>
                    <a:pt x="87671" y="137789"/>
                    <a:pt x="85665" y="148819"/>
                    <a:pt x="82656" y="147816"/>
                  </a:cubicBezTo>
                  <a:cubicBezTo>
                    <a:pt x="95694" y="123751"/>
                    <a:pt x="113747" y="104699"/>
                    <a:pt x="132803" y="87652"/>
                  </a:cubicBezTo>
                  <a:cubicBezTo>
                    <a:pt x="136815" y="84644"/>
                    <a:pt x="141829" y="82639"/>
                    <a:pt x="143835" y="81636"/>
                  </a:cubicBezTo>
                  <a:cubicBezTo>
                    <a:pt x="150856" y="76622"/>
                    <a:pt x="146844" y="77625"/>
                    <a:pt x="151859" y="74617"/>
                  </a:cubicBezTo>
                  <a:lnTo>
                    <a:pt x="153865" y="75620"/>
                  </a:lnTo>
                  <a:cubicBezTo>
                    <a:pt x="159882" y="68601"/>
                    <a:pt x="165900" y="70606"/>
                    <a:pt x="171918" y="64590"/>
                  </a:cubicBezTo>
                  <a:cubicBezTo>
                    <a:pt x="171918" y="63587"/>
                    <a:pt x="173923" y="61582"/>
                    <a:pt x="176932" y="60579"/>
                  </a:cubicBezTo>
                  <a:cubicBezTo>
                    <a:pt x="177935" y="62584"/>
                    <a:pt x="184956" y="55565"/>
                    <a:pt x="184956" y="58573"/>
                  </a:cubicBezTo>
                  <a:lnTo>
                    <a:pt x="184956" y="58573"/>
                  </a:lnTo>
                  <a:cubicBezTo>
                    <a:pt x="186962" y="57571"/>
                    <a:pt x="187965" y="57571"/>
                    <a:pt x="189970" y="56568"/>
                  </a:cubicBezTo>
                  <a:cubicBezTo>
                    <a:pt x="190973" y="55565"/>
                    <a:pt x="197994" y="49549"/>
                    <a:pt x="206018" y="45538"/>
                  </a:cubicBezTo>
                  <a:cubicBezTo>
                    <a:pt x="213038" y="40524"/>
                    <a:pt x="221062" y="36513"/>
                    <a:pt x="223067" y="35511"/>
                  </a:cubicBezTo>
                  <a:lnTo>
                    <a:pt x="225073" y="35511"/>
                  </a:lnTo>
                  <a:cubicBezTo>
                    <a:pt x="230088" y="34508"/>
                    <a:pt x="231091" y="32503"/>
                    <a:pt x="228082" y="32503"/>
                  </a:cubicBezTo>
                  <a:lnTo>
                    <a:pt x="234100" y="31500"/>
                  </a:lnTo>
                  <a:lnTo>
                    <a:pt x="233097" y="31500"/>
                  </a:lnTo>
                  <a:lnTo>
                    <a:pt x="239114" y="30497"/>
                  </a:lnTo>
                  <a:cubicBezTo>
                    <a:pt x="240117" y="30497"/>
                    <a:pt x="241120" y="31500"/>
                    <a:pt x="240117" y="32503"/>
                  </a:cubicBezTo>
                  <a:cubicBezTo>
                    <a:pt x="243126" y="31500"/>
                    <a:pt x="247138" y="30497"/>
                    <a:pt x="250147" y="30497"/>
                  </a:cubicBezTo>
                  <a:cubicBezTo>
                    <a:pt x="241120" y="30497"/>
                    <a:pt x="229085" y="30497"/>
                    <a:pt x="219056" y="31500"/>
                  </a:cubicBezTo>
                  <a:cubicBezTo>
                    <a:pt x="223067" y="29494"/>
                    <a:pt x="230088" y="29494"/>
                    <a:pt x="234100" y="27489"/>
                  </a:cubicBezTo>
                  <a:cubicBezTo>
                    <a:pt x="237108" y="27489"/>
                    <a:pt x="241120" y="27489"/>
                    <a:pt x="245132" y="27489"/>
                  </a:cubicBezTo>
                  <a:cubicBezTo>
                    <a:pt x="249144" y="27489"/>
                    <a:pt x="254158" y="27489"/>
                    <a:pt x="258170" y="27489"/>
                  </a:cubicBezTo>
                  <a:cubicBezTo>
                    <a:pt x="260176" y="27489"/>
                    <a:pt x="261179" y="24481"/>
                    <a:pt x="265191" y="25483"/>
                  </a:cubicBezTo>
                  <a:cubicBezTo>
                    <a:pt x="267197" y="27489"/>
                    <a:pt x="270205" y="25483"/>
                    <a:pt x="273214" y="26486"/>
                  </a:cubicBezTo>
                  <a:cubicBezTo>
                    <a:pt x="269202" y="27489"/>
                    <a:pt x="265191" y="27489"/>
                    <a:pt x="261179" y="27489"/>
                  </a:cubicBezTo>
                  <a:cubicBezTo>
                    <a:pt x="261179" y="28492"/>
                    <a:pt x="264188" y="28492"/>
                    <a:pt x="266194" y="28492"/>
                  </a:cubicBezTo>
                  <a:cubicBezTo>
                    <a:pt x="269202" y="28492"/>
                    <a:pt x="272211" y="28492"/>
                    <a:pt x="273214" y="28492"/>
                  </a:cubicBezTo>
                  <a:cubicBezTo>
                    <a:pt x="274217" y="27489"/>
                    <a:pt x="282241" y="28492"/>
                    <a:pt x="287255" y="28492"/>
                  </a:cubicBezTo>
                  <a:cubicBezTo>
                    <a:pt x="285249" y="30497"/>
                    <a:pt x="291267" y="30497"/>
                    <a:pt x="293273" y="31500"/>
                  </a:cubicBezTo>
                  <a:cubicBezTo>
                    <a:pt x="296282" y="31500"/>
                    <a:pt x="298288" y="31500"/>
                    <a:pt x="297285" y="30497"/>
                  </a:cubicBezTo>
                  <a:cubicBezTo>
                    <a:pt x="298288" y="28492"/>
                    <a:pt x="285249" y="27489"/>
                    <a:pt x="289261" y="25483"/>
                  </a:cubicBezTo>
                  <a:cubicBezTo>
                    <a:pt x="290264" y="26486"/>
                    <a:pt x="296282" y="26486"/>
                    <a:pt x="300294" y="27489"/>
                  </a:cubicBezTo>
                  <a:cubicBezTo>
                    <a:pt x="300294" y="26486"/>
                    <a:pt x="298288" y="26486"/>
                    <a:pt x="300294" y="25483"/>
                  </a:cubicBezTo>
                  <a:cubicBezTo>
                    <a:pt x="304305" y="26486"/>
                    <a:pt x="308317" y="25483"/>
                    <a:pt x="310323" y="27489"/>
                  </a:cubicBezTo>
                  <a:cubicBezTo>
                    <a:pt x="309320" y="27489"/>
                    <a:pt x="308317" y="27489"/>
                    <a:pt x="307314" y="26486"/>
                  </a:cubicBezTo>
                  <a:cubicBezTo>
                    <a:pt x="309320" y="27489"/>
                    <a:pt x="302299" y="27489"/>
                    <a:pt x="296282" y="28492"/>
                  </a:cubicBezTo>
                  <a:cubicBezTo>
                    <a:pt x="289261" y="29494"/>
                    <a:pt x="283244" y="31500"/>
                    <a:pt x="286252" y="30497"/>
                  </a:cubicBezTo>
                  <a:cubicBezTo>
                    <a:pt x="285249" y="30497"/>
                    <a:pt x="292270" y="28492"/>
                    <a:pt x="299291" y="27489"/>
                  </a:cubicBezTo>
                  <a:cubicBezTo>
                    <a:pt x="306311" y="27489"/>
                    <a:pt x="313332" y="26486"/>
                    <a:pt x="311326" y="26486"/>
                  </a:cubicBezTo>
                  <a:cubicBezTo>
                    <a:pt x="308317" y="25483"/>
                    <a:pt x="314335" y="24481"/>
                    <a:pt x="311326" y="23478"/>
                  </a:cubicBezTo>
                  <a:lnTo>
                    <a:pt x="307314" y="24481"/>
                  </a:lnTo>
                  <a:cubicBezTo>
                    <a:pt x="303302" y="23478"/>
                    <a:pt x="302299" y="20470"/>
                    <a:pt x="303302" y="20470"/>
                  </a:cubicBezTo>
                  <a:cubicBezTo>
                    <a:pt x="307314" y="21473"/>
                    <a:pt x="301297" y="22475"/>
                    <a:pt x="296282" y="23478"/>
                  </a:cubicBezTo>
                  <a:cubicBezTo>
                    <a:pt x="291267" y="24481"/>
                    <a:pt x="285249" y="26486"/>
                    <a:pt x="288258" y="25483"/>
                  </a:cubicBezTo>
                  <a:lnTo>
                    <a:pt x="286252" y="24481"/>
                  </a:lnTo>
                  <a:cubicBezTo>
                    <a:pt x="289261" y="24481"/>
                    <a:pt x="296282" y="23478"/>
                    <a:pt x="298288" y="25483"/>
                  </a:cubicBezTo>
                  <a:cubicBezTo>
                    <a:pt x="298288" y="24481"/>
                    <a:pt x="302299" y="24481"/>
                    <a:pt x="305308" y="24481"/>
                  </a:cubicBezTo>
                  <a:lnTo>
                    <a:pt x="306311" y="24481"/>
                  </a:lnTo>
                  <a:cubicBezTo>
                    <a:pt x="309320" y="24481"/>
                    <a:pt x="313332" y="25483"/>
                    <a:pt x="312329" y="23478"/>
                  </a:cubicBezTo>
                  <a:cubicBezTo>
                    <a:pt x="303302" y="22475"/>
                    <a:pt x="307314" y="19467"/>
                    <a:pt x="310323" y="16459"/>
                  </a:cubicBezTo>
                  <a:cubicBezTo>
                    <a:pt x="314335" y="13451"/>
                    <a:pt x="318346" y="11445"/>
                    <a:pt x="309320" y="9440"/>
                  </a:cubicBezTo>
                  <a:cubicBezTo>
                    <a:pt x="316341" y="13451"/>
                    <a:pt x="306311" y="11445"/>
                    <a:pt x="298288" y="10443"/>
                  </a:cubicBezTo>
                  <a:cubicBezTo>
                    <a:pt x="297285" y="9440"/>
                    <a:pt x="294276" y="7434"/>
                    <a:pt x="288258" y="6432"/>
                  </a:cubicBezTo>
                  <a:cubicBezTo>
                    <a:pt x="283244" y="6432"/>
                    <a:pt x="285249" y="7434"/>
                    <a:pt x="284246" y="7434"/>
                  </a:cubicBezTo>
                  <a:cubicBezTo>
                    <a:pt x="281238" y="6432"/>
                    <a:pt x="276223" y="6432"/>
                    <a:pt x="277226" y="4426"/>
                  </a:cubicBezTo>
                  <a:cubicBezTo>
                    <a:pt x="273214" y="6432"/>
                    <a:pt x="271208" y="3424"/>
                    <a:pt x="266194" y="4426"/>
                  </a:cubicBezTo>
                  <a:cubicBezTo>
                    <a:pt x="262182" y="5429"/>
                    <a:pt x="266194" y="5429"/>
                    <a:pt x="263185" y="6432"/>
                  </a:cubicBezTo>
                  <a:cubicBezTo>
                    <a:pt x="257167" y="6432"/>
                    <a:pt x="248141" y="7434"/>
                    <a:pt x="243126" y="7434"/>
                  </a:cubicBezTo>
                  <a:cubicBezTo>
                    <a:pt x="241120" y="6432"/>
                    <a:pt x="235103" y="5429"/>
                    <a:pt x="239114" y="2421"/>
                  </a:cubicBezTo>
                  <a:cubicBezTo>
                    <a:pt x="249144" y="1418"/>
                    <a:pt x="236106" y="6432"/>
                    <a:pt x="246135" y="4426"/>
                  </a:cubicBezTo>
                  <a:cubicBezTo>
                    <a:pt x="241120" y="2421"/>
                    <a:pt x="255161" y="2421"/>
                    <a:pt x="256164" y="415"/>
                  </a:cubicBezTo>
                  <a:cubicBezTo>
                    <a:pt x="253156" y="-587"/>
                    <a:pt x="246135" y="415"/>
                    <a:pt x="241120" y="1418"/>
                  </a:cubicBezTo>
                  <a:lnTo>
                    <a:pt x="242123" y="1418"/>
                  </a:lnTo>
                  <a:cubicBezTo>
                    <a:pt x="237108" y="2421"/>
                    <a:pt x="228082" y="5429"/>
                    <a:pt x="222064" y="4426"/>
                  </a:cubicBezTo>
                  <a:cubicBezTo>
                    <a:pt x="223067" y="3424"/>
                    <a:pt x="221062" y="2421"/>
                    <a:pt x="224070" y="1418"/>
                  </a:cubicBezTo>
                  <a:lnTo>
                    <a:pt x="217050" y="2421"/>
                  </a:lnTo>
                  <a:cubicBezTo>
                    <a:pt x="216047" y="3424"/>
                    <a:pt x="215044" y="3424"/>
                    <a:pt x="217050" y="3424"/>
                  </a:cubicBezTo>
                  <a:cubicBezTo>
                    <a:pt x="214041" y="5429"/>
                    <a:pt x="211032" y="5429"/>
                    <a:pt x="208023" y="5429"/>
                  </a:cubicBezTo>
                  <a:cubicBezTo>
                    <a:pt x="207020" y="5429"/>
                    <a:pt x="198997" y="8437"/>
                    <a:pt x="191976" y="13451"/>
                  </a:cubicBezTo>
                  <a:cubicBezTo>
                    <a:pt x="183953" y="17462"/>
                    <a:pt x="176932" y="22475"/>
                    <a:pt x="177935" y="22475"/>
                  </a:cubicBezTo>
                  <a:cubicBezTo>
                    <a:pt x="173923" y="24481"/>
                    <a:pt x="171918" y="23478"/>
                    <a:pt x="167906" y="26486"/>
                  </a:cubicBezTo>
                  <a:cubicBezTo>
                    <a:pt x="167906" y="26486"/>
                    <a:pt x="169912" y="25483"/>
                    <a:pt x="173923" y="23478"/>
                  </a:cubicBezTo>
                  <a:cubicBezTo>
                    <a:pt x="177935" y="21473"/>
                    <a:pt x="181947" y="18464"/>
                    <a:pt x="186962" y="15456"/>
                  </a:cubicBezTo>
                  <a:cubicBezTo>
                    <a:pt x="191976" y="13451"/>
                    <a:pt x="195988" y="10443"/>
                    <a:pt x="200000" y="8437"/>
                  </a:cubicBezTo>
                  <a:cubicBezTo>
                    <a:pt x="203009" y="7434"/>
                    <a:pt x="205015" y="6432"/>
                    <a:pt x="203009" y="6432"/>
                  </a:cubicBezTo>
                  <a:cubicBezTo>
                    <a:pt x="202006" y="6432"/>
                    <a:pt x="197994" y="7434"/>
                    <a:pt x="192979" y="10443"/>
                  </a:cubicBezTo>
                  <a:cubicBezTo>
                    <a:pt x="187965" y="12448"/>
                    <a:pt x="181947" y="16459"/>
                    <a:pt x="175929" y="19467"/>
                  </a:cubicBezTo>
                  <a:cubicBezTo>
                    <a:pt x="169912" y="22475"/>
                    <a:pt x="164897" y="26486"/>
                    <a:pt x="159882" y="29494"/>
                  </a:cubicBezTo>
                  <a:cubicBezTo>
                    <a:pt x="155871" y="32503"/>
                    <a:pt x="152862" y="34508"/>
                    <a:pt x="151859" y="34508"/>
                  </a:cubicBezTo>
                  <a:cubicBezTo>
                    <a:pt x="148850" y="36513"/>
                    <a:pt x="145841" y="39522"/>
                    <a:pt x="146844" y="39522"/>
                  </a:cubicBezTo>
                  <a:cubicBezTo>
                    <a:pt x="141829" y="42530"/>
                    <a:pt x="146844" y="36513"/>
                    <a:pt x="142832" y="38519"/>
                  </a:cubicBezTo>
                  <a:cubicBezTo>
                    <a:pt x="142832" y="38519"/>
                    <a:pt x="143835" y="38519"/>
                    <a:pt x="141829" y="39522"/>
                  </a:cubicBezTo>
                  <a:cubicBezTo>
                    <a:pt x="140827" y="39522"/>
                    <a:pt x="138821" y="40524"/>
                    <a:pt x="137818" y="40524"/>
                  </a:cubicBezTo>
                  <a:cubicBezTo>
                    <a:pt x="134809" y="44535"/>
                    <a:pt x="129794" y="47543"/>
                    <a:pt x="124780" y="50552"/>
                  </a:cubicBezTo>
                  <a:cubicBezTo>
                    <a:pt x="120768" y="54563"/>
                    <a:pt x="115753" y="58573"/>
                    <a:pt x="112744" y="62584"/>
                  </a:cubicBezTo>
                  <a:cubicBezTo>
                    <a:pt x="113747" y="59576"/>
                    <a:pt x="114750" y="55565"/>
                    <a:pt x="118762" y="50552"/>
                  </a:cubicBezTo>
                  <a:lnTo>
                    <a:pt x="119765" y="50552"/>
                  </a:lnTo>
                  <a:cubicBezTo>
                    <a:pt x="119765" y="49549"/>
                    <a:pt x="123777" y="45538"/>
                    <a:pt x="122774" y="45538"/>
                  </a:cubicBezTo>
                  <a:cubicBezTo>
                    <a:pt x="117759" y="48546"/>
                    <a:pt x="113747" y="52557"/>
                    <a:pt x="109736" y="57571"/>
                  </a:cubicBezTo>
                  <a:cubicBezTo>
                    <a:pt x="108733" y="58573"/>
                    <a:pt x="107730" y="58573"/>
                    <a:pt x="106727" y="59576"/>
                  </a:cubicBezTo>
                  <a:cubicBezTo>
                    <a:pt x="106727" y="59576"/>
                    <a:pt x="106727" y="59576"/>
                    <a:pt x="106727" y="59576"/>
                  </a:cubicBezTo>
                  <a:cubicBezTo>
                    <a:pt x="104721" y="60579"/>
                    <a:pt x="104721" y="60579"/>
                    <a:pt x="104721" y="59576"/>
                  </a:cubicBezTo>
                  <a:cubicBezTo>
                    <a:pt x="104721" y="59576"/>
                    <a:pt x="104721" y="59576"/>
                    <a:pt x="104721" y="58573"/>
                  </a:cubicBezTo>
                  <a:cubicBezTo>
                    <a:pt x="101712" y="58573"/>
                    <a:pt x="98703" y="63587"/>
                    <a:pt x="93688" y="68601"/>
                  </a:cubicBezTo>
                  <a:cubicBezTo>
                    <a:pt x="89677" y="74617"/>
                    <a:pt x="84662" y="80633"/>
                    <a:pt x="80650" y="84644"/>
                  </a:cubicBezTo>
                  <a:cubicBezTo>
                    <a:pt x="78644" y="87652"/>
                    <a:pt x="80650" y="85647"/>
                    <a:pt x="78644" y="88655"/>
                  </a:cubicBezTo>
                  <a:cubicBezTo>
                    <a:pt x="70621" y="96677"/>
                    <a:pt x="65606" y="102693"/>
                    <a:pt x="58586" y="112721"/>
                  </a:cubicBezTo>
                  <a:cubicBezTo>
                    <a:pt x="57583" y="116732"/>
                    <a:pt x="58586" y="117734"/>
                    <a:pt x="61595" y="113723"/>
                  </a:cubicBezTo>
                  <a:lnTo>
                    <a:pt x="56580" y="121745"/>
                  </a:lnTo>
                  <a:cubicBezTo>
                    <a:pt x="56580" y="117734"/>
                    <a:pt x="53571" y="120742"/>
                    <a:pt x="51565" y="123751"/>
                  </a:cubicBezTo>
                  <a:cubicBezTo>
                    <a:pt x="48556" y="126759"/>
                    <a:pt x="46550" y="129767"/>
                    <a:pt x="46550" y="124753"/>
                  </a:cubicBezTo>
                  <a:cubicBezTo>
                    <a:pt x="44545" y="126759"/>
                    <a:pt x="41536" y="131772"/>
                    <a:pt x="40533" y="136786"/>
                  </a:cubicBezTo>
                  <a:cubicBezTo>
                    <a:pt x="41536" y="137789"/>
                    <a:pt x="42539" y="138792"/>
                    <a:pt x="39530" y="144808"/>
                  </a:cubicBezTo>
                  <a:cubicBezTo>
                    <a:pt x="34515" y="152830"/>
                    <a:pt x="35518" y="150824"/>
                    <a:pt x="31506" y="156841"/>
                  </a:cubicBezTo>
                  <a:cubicBezTo>
                    <a:pt x="29501" y="157843"/>
                    <a:pt x="30504" y="154835"/>
                    <a:pt x="29501" y="154835"/>
                  </a:cubicBezTo>
                  <a:cubicBezTo>
                    <a:pt x="27495" y="165865"/>
                    <a:pt x="23483" y="162857"/>
                    <a:pt x="19471" y="173887"/>
                  </a:cubicBezTo>
                  <a:cubicBezTo>
                    <a:pt x="17465" y="180906"/>
                    <a:pt x="14457" y="193941"/>
                    <a:pt x="16462" y="194944"/>
                  </a:cubicBezTo>
                  <a:cubicBezTo>
                    <a:pt x="20474" y="208982"/>
                    <a:pt x="19471" y="207980"/>
                    <a:pt x="17465" y="206977"/>
                  </a:cubicBezTo>
                  <a:close/>
                </a:path>
              </a:pathLst>
            </a:custGeom>
            <a:solidFill>
              <a:srgbClr val="154573"/>
            </a:solidFill>
            <a:ln w="100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 sz="1800"/>
            </a:p>
          </p:txBody>
        </p:sp>
      </p:grpSp>
      <p:grpSp>
        <p:nvGrpSpPr>
          <p:cNvPr id="26" name="Gruppe 25">
            <a:extLst>
              <a:ext uri="{FF2B5EF4-FFF2-40B4-BE49-F238E27FC236}">
                <a16:creationId xmlns:a16="http://schemas.microsoft.com/office/drawing/2014/main" id="{088A53C9-7CE7-AD48-8870-F4DF2FF74E86}"/>
              </a:ext>
            </a:extLst>
          </p:cNvPr>
          <p:cNvGrpSpPr/>
          <p:nvPr userDrawn="1"/>
        </p:nvGrpSpPr>
        <p:grpSpPr>
          <a:xfrm>
            <a:off x="1308676" y="5490022"/>
            <a:ext cx="580929" cy="906402"/>
            <a:chOff x="4467788" y="4090750"/>
            <a:chExt cx="580929" cy="906402"/>
          </a:xfrm>
        </p:grpSpPr>
        <p:sp>
          <p:nvSpPr>
            <p:cNvPr id="17" name="Tekstfelt 16">
              <a:extLst>
                <a:ext uri="{FF2B5EF4-FFF2-40B4-BE49-F238E27FC236}">
                  <a16:creationId xmlns:a16="http://schemas.microsoft.com/office/drawing/2014/main" id="{4566AFE7-5DED-5B48-97A5-4133C1C75FB4}"/>
                </a:ext>
              </a:extLst>
            </p:cNvPr>
            <p:cNvSpPr txBox="1"/>
            <p:nvPr/>
          </p:nvSpPr>
          <p:spPr>
            <a:xfrm>
              <a:off x="4521008" y="4090750"/>
              <a:ext cx="527709" cy="9064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da-DK" sz="5290" spc="0" baseline="0">
                  <a:solidFill>
                    <a:srgbClr val="154573"/>
                  </a:solidFill>
                  <a:latin typeface="Manus"/>
                  <a:sym typeface="Manus"/>
                  <a:rtl val="0"/>
                </a:rPr>
                <a:t>5</a:t>
              </a:r>
            </a:p>
          </p:txBody>
        </p:sp>
        <p:sp>
          <p:nvSpPr>
            <p:cNvPr id="18" name="Kombinationstegning 17">
              <a:extLst>
                <a:ext uri="{FF2B5EF4-FFF2-40B4-BE49-F238E27FC236}">
                  <a16:creationId xmlns:a16="http://schemas.microsoft.com/office/drawing/2014/main" id="{389A7E92-22F2-8647-871D-CC13CB86CC94}"/>
                </a:ext>
              </a:extLst>
            </p:cNvPr>
            <p:cNvSpPr/>
            <p:nvPr/>
          </p:nvSpPr>
          <p:spPr>
            <a:xfrm>
              <a:off x="4467788" y="4173686"/>
              <a:ext cx="572723" cy="606061"/>
            </a:xfrm>
            <a:custGeom>
              <a:avLst/>
              <a:gdLst>
                <a:gd name="connsiteX0" fmla="*/ 17465 w 572723"/>
                <a:gd name="connsiteY0" fmla="*/ 204971 h 606061"/>
                <a:gd name="connsiteX1" fmla="*/ 15460 w 572723"/>
                <a:gd name="connsiteY1" fmla="*/ 211990 h 606061"/>
                <a:gd name="connsiteX2" fmla="*/ 40533 w 572723"/>
                <a:gd name="connsiteY2" fmla="*/ 140797 h 606061"/>
                <a:gd name="connsiteX3" fmla="*/ 6433 w 572723"/>
                <a:gd name="connsiteY3" fmla="*/ 221015 h 606061"/>
                <a:gd name="connsiteX4" fmla="*/ 8439 w 572723"/>
                <a:gd name="connsiteY4" fmla="*/ 298225 h 606061"/>
                <a:gd name="connsiteX5" fmla="*/ 415 w 572723"/>
                <a:gd name="connsiteY5" fmla="*/ 329309 h 606061"/>
                <a:gd name="connsiteX6" fmla="*/ 1418 w 572723"/>
                <a:gd name="connsiteY6" fmla="*/ 357386 h 606061"/>
                <a:gd name="connsiteX7" fmla="*/ 10445 w 572723"/>
                <a:gd name="connsiteY7" fmla="*/ 390476 h 606061"/>
                <a:gd name="connsiteX8" fmla="*/ 4427 w 572723"/>
                <a:gd name="connsiteY8" fmla="*/ 367413 h 606061"/>
                <a:gd name="connsiteX9" fmla="*/ 10445 w 572723"/>
                <a:gd name="connsiteY9" fmla="*/ 390476 h 606061"/>
                <a:gd name="connsiteX10" fmla="*/ 29501 w 572723"/>
                <a:gd name="connsiteY10" fmla="*/ 443620 h 606061"/>
                <a:gd name="connsiteX11" fmla="*/ 60592 w 572723"/>
                <a:gd name="connsiteY11" fmla="*/ 494759 h 606061"/>
                <a:gd name="connsiteX12" fmla="*/ 156874 w 572723"/>
                <a:gd name="connsiteY12" fmla="*/ 567958 h 606061"/>
                <a:gd name="connsiteX13" fmla="*/ 257167 w 572723"/>
                <a:gd name="connsiteY13" fmla="*/ 599043 h 606061"/>
                <a:gd name="connsiteX14" fmla="*/ 317344 w 572723"/>
                <a:gd name="connsiteY14" fmla="*/ 606062 h 606061"/>
                <a:gd name="connsiteX15" fmla="*/ 364481 w 572723"/>
                <a:gd name="connsiteY15" fmla="*/ 605059 h 606061"/>
                <a:gd name="connsiteX16" fmla="*/ 385543 w 572723"/>
                <a:gd name="connsiteY16" fmla="*/ 602051 h 606061"/>
                <a:gd name="connsiteX17" fmla="*/ 362476 w 572723"/>
                <a:gd name="connsiteY17" fmla="*/ 604056 h 606061"/>
                <a:gd name="connsiteX18" fmla="*/ 438699 w 572723"/>
                <a:gd name="connsiteY18" fmla="*/ 576983 h 606061"/>
                <a:gd name="connsiteX19" fmla="*/ 422652 w 572723"/>
                <a:gd name="connsiteY19" fmla="*/ 578988 h 606061"/>
                <a:gd name="connsiteX20" fmla="*/ 434687 w 572723"/>
                <a:gd name="connsiteY20" fmla="*/ 574977 h 606061"/>
                <a:gd name="connsiteX21" fmla="*/ 476810 w 572723"/>
                <a:gd name="connsiteY21" fmla="*/ 544896 h 606061"/>
                <a:gd name="connsiteX22" fmla="*/ 490852 w 572723"/>
                <a:gd name="connsiteY22" fmla="*/ 535871 h 606061"/>
                <a:gd name="connsiteX23" fmla="*/ 487843 w 572723"/>
                <a:gd name="connsiteY23" fmla="*/ 536874 h 606061"/>
                <a:gd name="connsiteX24" fmla="*/ 521943 w 572723"/>
                <a:gd name="connsiteY24" fmla="*/ 496765 h 606061"/>
                <a:gd name="connsiteX25" fmla="*/ 543004 w 572723"/>
                <a:gd name="connsiteY25" fmla="*/ 452645 h 606061"/>
                <a:gd name="connsiteX26" fmla="*/ 547016 w 572723"/>
                <a:gd name="connsiteY26" fmla="*/ 444623 h 606061"/>
                <a:gd name="connsiteX27" fmla="*/ 553034 w 572723"/>
                <a:gd name="connsiteY27" fmla="*/ 417549 h 606061"/>
                <a:gd name="connsiteX28" fmla="*/ 559051 w 572723"/>
                <a:gd name="connsiteY28" fmla="*/ 409528 h 606061"/>
                <a:gd name="connsiteX29" fmla="*/ 566072 w 572723"/>
                <a:gd name="connsiteY29" fmla="*/ 350367 h 606061"/>
                <a:gd name="connsiteX30" fmla="*/ 571086 w 572723"/>
                <a:gd name="connsiteY30" fmla="*/ 244078 h 606061"/>
                <a:gd name="connsiteX31" fmla="*/ 528963 w 572723"/>
                <a:gd name="connsiteY31" fmla="*/ 142802 h 606061"/>
                <a:gd name="connsiteX32" fmla="*/ 528963 w 572723"/>
                <a:gd name="connsiteY32" fmla="*/ 144808 h 606061"/>
                <a:gd name="connsiteX33" fmla="*/ 469790 w 572723"/>
                <a:gd name="connsiteY33" fmla="*/ 94672 h 606061"/>
                <a:gd name="connsiteX34" fmla="*/ 437696 w 572723"/>
                <a:gd name="connsiteY34" fmla="*/ 81636 h 606061"/>
                <a:gd name="connsiteX35" fmla="*/ 422652 w 572723"/>
                <a:gd name="connsiteY35" fmla="*/ 78628 h 606061"/>
                <a:gd name="connsiteX36" fmla="*/ 412623 w 572723"/>
                <a:gd name="connsiteY36" fmla="*/ 78628 h 606061"/>
                <a:gd name="connsiteX37" fmla="*/ 397579 w 572723"/>
                <a:gd name="connsiteY37" fmla="*/ 75620 h 606061"/>
                <a:gd name="connsiteX38" fmla="*/ 384540 w 572723"/>
                <a:gd name="connsiteY38" fmla="*/ 74617 h 606061"/>
                <a:gd name="connsiteX39" fmla="*/ 372505 w 572723"/>
                <a:gd name="connsiteY39" fmla="*/ 74617 h 606061"/>
                <a:gd name="connsiteX40" fmla="*/ 357461 w 572723"/>
                <a:gd name="connsiteY40" fmla="*/ 75620 h 606061"/>
                <a:gd name="connsiteX41" fmla="*/ 350440 w 572723"/>
                <a:gd name="connsiteY41" fmla="*/ 78628 h 606061"/>
                <a:gd name="connsiteX42" fmla="*/ 347432 w 572723"/>
                <a:gd name="connsiteY42" fmla="*/ 80633 h 606061"/>
                <a:gd name="connsiteX43" fmla="*/ 374511 w 572723"/>
                <a:gd name="connsiteY43" fmla="*/ 83642 h 606061"/>
                <a:gd name="connsiteX44" fmla="*/ 374511 w 572723"/>
                <a:gd name="connsiteY44" fmla="*/ 82639 h 606061"/>
                <a:gd name="connsiteX45" fmla="*/ 451737 w 572723"/>
                <a:gd name="connsiteY45" fmla="*/ 113723 h 606061"/>
                <a:gd name="connsiteX46" fmla="*/ 507902 w 572723"/>
                <a:gd name="connsiteY46" fmla="*/ 173887 h 606061"/>
                <a:gd name="connsiteX47" fmla="*/ 528963 w 572723"/>
                <a:gd name="connsiteY47" fmla="*/ 226029 h 606061"/>
                <a:gd name="connsiteX48" fmla="*/ 531972 w 572723"/>
                <a:gd name="connsiteY48" fmla="*/ 286192 h 606061"/>
                <a:gd name="connsiteX49" fmla="*/ 524951 w 572723"/>
                <a:gd name="connsiteY49" fmla="*/ 355380 h 606061"/>
                <a:gd name="connsiteX50" fmla="*/ 513919 w 572723"/>
                <a:gd name="connsiteY50" fmla="*/ 418552 h 606061"/>
                <a:gd name="connsiteX51" fmla="*/ 503890 w 572723"/>
                <a:gd name="connsiteY51" fmla="*/ 439609 h 606061"/>
                <a:gd name="connsiteX52" fmla="*/ 477813 w 572723"/>
                <a:gd name="connsiteY52" fmla="*/ 487740 h 606061"/>
                <a:gd name="connsiteX53" fmla="*/ 434687 w 572723"/>
                <a:gd name="connsiteY53" fmla="*/ 525844 h 606061"/>
                <a:gd name="connsiteX54" fmla="*/ 436693 w 572723"/>
                <a:gd name="connsiteY54" fmla="*/ 524841 h 606061"/>
                <a:gd name="connsiteX55" fmla="*/ 385543 w 572723"/>
                <a:gd name="connsiteY55" fmla="*/ 543893 h 606061"/>
                <a:gd name="connsiteX56" fmla="*/ 381531 w 572723"/>
                <a:gd name="connsiteY56" fmla="*/ 545898 h 606061"/>
                <a:gd name="connsiteX57" fmla="*/ 361473 w 572723"/>
                <a:gd name="connsiteY57" fmla="*/ 548906 h 606061"/>
                <a:gd name="connsiteX58" fmla="*/ 320352 w 572723"/>
                <a:gd name="connsiteY58" fmla="*/ 554923 h 606061"/>
                <a:gd name="connsiteX59" fmla="*/ 254158 w 572723"/>
                <a:gd name="connsiteY59" fmla="*/ 551915 h 606061"/>
                <a:gd name="connsiteX60" fmla="*/ 247138 w 572723"/>
                <a:gd name="connsiteY60" fmla="*/ 550912 h 606061"/>
                <a:gd name="connsiteX61" fmla="*/ 184956 w 572723"/>
                <a:gd name="connsiteY61" fmla="*/ 527849 h 606061"/>
                <a:gd name="connsiteX62" fmla="*/ 133806 w 572723"/>
                <a:gd name="connsiteY62" fmla="*/ 498770 h 606061"/>
                <a:gd name="connsiteX63" fmla="*/ 112744 w 572723"/>
                <a:gd name="connsiteY63" fmla="*/ 488743 h 606061"/>
                <a:gd name="connsiteX64" fmla="*/ 100709 w 572723"/>
                <a:gd name="connsiteY64" fmla="*/ 478716 h 606061"/>
                <a:gd name="connsiteX65" fmla="*/ 87671 w 572723"/>
                <a:gd name="connsiteY65" fmla="*/ 462672 h 606061"/>
                <a:gd name="connsiteX66" fmla="*/ 64603 w 572723"/>
                <a:gd name="connsiteY66" fmla="*/ 423566 h 606061"/>
                <a:gd name="connsiteX67" fmla="*/ 56580 w 572723"/>
                <a:gd name="connsiteY67" fmla="*/ 405517 h 606061"/>
                <a:gd name="connsiteX68" fmla="*/ 55577 w 572723"/>
                <a:gd name="connsiteY68" fmla="*/ 393484 h 606061"/>
                <a:gd name="connsiteX69" fmla="*/ 51565 w 572723"/>
                <a:gd name="connsiteY69" fmla="*/ 367413 h 606061"/>
                <a:gd name="connsiteX70" fmla="*/ 47553 w 572723"/>
                <a:gd name="connsiteY70" fmla="*/ 345353 h 606061"/>
                <a:gd name="connsiteX71" fmla="*/ 43542 w 572723"/>
                <a:gd name="connsiteY71" fmla="*/ 323293 h 606061"/>
                <a:gd name="connsiteX72" fmla="*/ 43542 w 572723"/>
                <a:gd name="connsiteY72" fmla="*/ 326301 h 606061"/>
                <a:gd name="connsiteX73" fmla="*/ 48556 w 572723"/>
                <a:gd name="connsiteY73" fmla="*/ 278170 h 606061"/>
                <a:gd name="connsiteX74" fmla="*/ 61595 w 572723"/>
                <a:gd name="connsiteY74" fmla="*/ 203969 h 606061"/>
                <a:gd name="connsiteX75" fmla="*/ 89677 w 572723"/>
                <a:gd name="connsiteY75" fmla="*/ 137789 h 606061"/>
                <a:gd name="connsiteX76" fmla="*/ 82656 w 572723"/>
                <a:gd name="connsiteY76" fmla="*/ 145811 h 606061"/>
                <a:gd name="connsiteX77" fmla="*/ 132803 w 572723"/>
                <a:gd name="connsiteY77" fmla="*/ 85647 h 606061"/>
                <a:gd name="connsiteX78" fmla="*/ 143835 w 572723"/>
                <a:gd name="connsiteY78" fmla="*/ 79631 h 606061"/>
                <a:gd name="connsiteX79" fmla="*/ 151859 w 572723"/>
                <a:gd name="connsiteY79" fmla="*/ 72612 h 606061"/>
                <a:gd name="connsiteX80" fmla="*/ 153865 w 572723"/>
                <a:gd name="connsiteY80" fmla="*/ 73614 h 606061"/>
                <a:gd name="connsiteX81" fmla="*/ 171918 w 572723"/>
                <a:gd name="connsiteY81" fmla="*/ 62584 h 606061"/>
                <a:gd name="connsiteX82" fmla="*/ 176932 w 572723"/>
                <a:gd name="connsiteY82" fmla="*/ 58573 h 606061"/>
                <a:gd name="connsiteX83" fmla="*/ 184956 w 572723"/>
                <a:gd name="connsiteY83" fmla="*/ 56568 h 606061"/>
                <a:gd name="connsiteX84" fmla="*/ 184956 w 572723"/>
                <a:gd name="connsiteY84" fmla="*/ 56568 h 606061"/>
                <a:gd name="connsiteX85" fmla="*/ 189970 w 572723"/>
                <a:gd name="connsiteY85" fmla="*/ 54563 h 606061"/>
                <a:gd name="connsiteX86" fmla="*/ 206018 w 572723"/>
                <a:gd name="connsiteY86" fmla="*/ 43533 h 606061"/>
                <a:gd name="connsiteX87" fmla="*/ 223067 w 572723"/>
                <a:gd name="connsiteY87" fmla="*/ 33505 h 606061"/>
                <a:gd name="connsiteX88" fmla="*/ 225073 w 572723"/>
                <a:gd name="connsiteY88" fmla="*/ 33505 h 606061"/>
                <a:gd name="connsiteX89" fmla="*/ 228082 w 572723"/>
                <a:gd name="connsiteY89" fmla="*/ 30497 h 606061"/>
                <a:gd name="connsiteX90" fmla="*/ 234100 w 572723"/>
                <a:gd name="connsiteY90" fmla="*/ 29494 h 606061"/>
                <a:gd name="connsiteX91" fmla="*/ 233097 w 572723"/>
                <a:gd name="connsiteY91" fmla="*/ 29494 h 606061"/>
                <a:gd name="connsiteX92" fmla="*/ 239114 w 572723"/>
                <a:gd name="connsiteY92" fmla="*/ 28492 h 606061"/>
                <a:gd name="connsiteX93" fmla="*/ 240117 w 572723"/>
                <a:gd name="connsiteY93" fmla="*/ 30497 h 606061"/>
                <a:gd name="connsiteX94" fmla="*/ 250147 w 572723"/>
                <a:gd name="connsiteY94" fmla="*/ 28492 h 606061"/>
                <a:gd name="connsiteX95" fmla="*/ 219056 w 572723"/>
                <a:gd name="connsiteY95" fmla="*/ 29494 h 606061"/>
                <a:gd name="connsiteX96" fmla="*/ 234100 w 572723"/>
                <a:gd name="connsiteY96" fmla="*/ 25483 h 606061"/>
                <a:gd name="connsiteX97" fmla="*/ 245132 w 572723"/>
                <a:gd name="connsiteY97" fmla="*/ 25483 h 606061"/>
                <a:gd name="connsiteX98" fmla="*/ 258170 w 572723"/>
                <a:gd name="connsiteY98" fmla="*/ 25483 h 606061"/>
                <a:gd name="connsiteX99" fmla="*/ 265191 w 572723"/>
                <a:gd name="connsiteY99" fmla="*/ 23478 h 606061"/>
                <a:gd name="connsiteX100" fmla="*/ 273214 w 572723"/>
                <a:gd name="connsiteY100" fmla="*/ 24481 h 606061"/>
                <a:gd name="connsiteX101" fmla="*/ 261179 w 572723"/>
                <a:gd name="connsiteY101" fmla="*/ 25483 h 606061"/>
                <a:gd name="connsiteX102" fmla="*/ 266194 w 572723"/>
                <a:gd name="connsiteY102" fmla="*/ 26486 h 606061"/>
                <a:gd name="connsiteX103" fmla="*/ 273214 w 572723"/>
                <a:gd name="connsiteY103" fmla="*/ 26486 h 606061"/>
                <a:gd name="connsiteX104" fmla="*/ 287255 w 572723"/>
                <a:gd name="connsiteY104" fmla="*/ 26486 h 606061"/>
                <a:gd name="connsiteX105" fmla="*/ 293273 w 572723"/>
                <a:gd name="connsiteY105" fmla="*/ 29494 h 606061"/>
                <a:gd name="connsiteX106" fmla="*/ 297285 w 572723"/>
                <a:gd name="connsiteY106" fmla="*/ 28492 h 606061"/>
                <a:gd name="connsiteX107" fmla="*/ 289261 w 572723"/>
                <a:gd name="connsiteY107" fmla="*/ 23478 h 606061"/>
                <a:gd name="connsiteX108" fmla="*/ 300294 w 572723"/>
                <a:gd name="connsiteY108" fmla="*/ 25483 h 606061"/>
                <a:gd name="connsiteX109" fmla="*/ 300294 w 572723"/>
                <a:gd name="connsiteY109" fmla="*/ 23478 h 606061"/>
                <a:gd name="connsiteX110" fmla="*/ 310323 w 572723"/>
                <a:gd name="connsiteY110" fmla="*/ 25483 h 606061"/>
                <a:gd name="connsiteX111" fmla="*/ 307314 w 572723"/>
                <a:gd name="connsiteY111" fmla="*/ 24481 h 606061"/>
                <a:gd name="connsiteX112" fmla="*/ 296282 w 572723"/>
                <a:gd name="connsiteY112" fmla="*/ 26486 h 606061"/>
                <a:gd name="connsiteX113" fmla="*/ 286252 w 572723"/>
                <a:gd name="connsiteY113" fmla="*/ 28492 h 606061"/>
                <a:gd name="connsiteX114" fmla="*/ 299291 w 572723"/>
                <a:gd name="connsiteY114" fmla="*/ 25483 h 606061"/>
                <a:gd name="connsiteX115" fmla="*/ 311326 w 572723"/>
                <a:gd name="connsiteY115" fmla="*/ 24481 h 606061"/>
                <a:gd name="connsiteX116" fmla="*/ 311326 w 572723"/>
                <a:gd name="connsiteY116" fmla="*/ 21473 h 606061"/>
                <a:gd name="connsiteX117" fmla="*/ 307314 w 572723"/>
                <a:gd name="connsiteY117" fmla="*/ 22475 h 606061"/>
                <a:gd name="connsiteX118" fmla="*/ 303302 w 572723"/>
                <a:gd name="connsiteY118" fmla="*/ 18464 h 606061"/>
                <a:gd name="connsiteX119" fmla="*/ 296282 w 572723"/>
                <a:gd name="connsiteY119" fmla="*/ 21473 h 606061"/>
                <a:gd name="connsiteX120" fmla="*/ 288258 w 572723"/>
                <a:gd name="connsiteY120" fmla="*/ 23478 h 606061"/>
                <a:gd name="connsiteX121" fmla="*/ 290264 w 572723"/>
                <a:gd name="connsiteY121" fmla="*/ 24481 h 606061"/>
                <a:gd name="connsiteX122" fmla="*/ 302300 w 572723"/>
                <a:gd name="connsiteY122" fmla="*/ 25483 h 606061"/>
                <a:gd name="connsiteX123" fmla="*/ 309320 w 572723"/>
                <a:gd name="connsiteY123" fmla="*/ 24481 h 606061"/>
                <a:gd name="connsiteX124" fmla="*/ 310323 w 572723"/>
                <a:gd name="connsiteY124" fmla="*/ 24481 h 606061"/>
                <a:gd name="connsiteX125" fmla="*/ 316341 w 572723"/>
                <a:gd name="connsiteY125" fmla="*/ 23478 h 606061"/>
                <a:gd name="connsiteX126" fmla="*/ 314335 w 572723"/>
                <a:gd name="connsiteY126" fmla="*/ 16459 h 606061"/>
                <a:gd name="connsiteX127" fmla="*/ 313332 w 572723"/>
                <a:gd name="connsiteY127" fmla="*/ 9440 h 606061"/>
                <a:gd name="connsiteX128" fmla="*/ 302300 w 572723"/>
                <a:gd name="connsiteY128" fmla="*/ 10443 h 606061"/>
                <a:gd name="connsiteX129" fmla="*/ 292270 w 572723"/>
                <a:gd name="connsiteY129" fmla="*/ 6432 h 606061"/>
                <a:gd name="connsiteX130" fmla="*/ 288258 w 572723"/>
                <a:gd name="connsiteY130" fmla="*/ 7434 h 606061"/>
                <a:gd name="connsiteX131" fmla="*/ 281238 w 572723"/>
                <a:gd name="connsiteY131" fmla="*/ 4426 h 606061"/>
                <a:gd name="connsiteX132" fmla="*/ 270205 w 572723"/>
                <a:gd name="connsiteY132" fmla="*/ 4426 h 606061"/>
                <a:gd name="connsiteX133" fmla="*/ 267197 w 572723"/>
                <a:gd name="connsiteY133" fmla="*/ 6432 h 606061"/>
                <a:gd name="connsiteX134" fmla="*/ 247138 w 572723"/>
                <a:gd name="connsiteY134" fmla="*/ 7434 h 606061"/>
                <a:gd name="connsiteX135" fmla="*/ 243126 w 572723"/>
                <a:gd name="connsiteY135" fmla="*/ 2421 h 606061"/>
                <a:gd name="connsiteX136" fmla="*/ 250147 w 572723"/>
                <a:gd name="connsiteY136" fmla="*/ 4426 h 606061"/>
                <a:gd name="connsiteX137" fmla="*/ 260176 w 572723"/>
                <a:gd name="connsiteY137" fmla="*/ 415 h 606061"/>
                <a:gd name="connsiteX138" fmla="*/ 245132 w 572723"/>
                <a:gd name="connsiteY138" fmla="*/ 1418 h 606061"/>
                <a:gd name="connsiteX139" fmla="*/ 246135 w 572723"/>
                <a:gd name="connsiteY139" fmla="*/ 1418 h 606061"/>
                <a:gd name="connsiteX140" fmla="*/ 226076 w 572723"/>
                <a:gd name="connsiteY140" fmla="*/ 4426 h 606061"/>
                <a:gd name="connsiteX141" fmla="*/ 228082 w 572723"/>
                <a:gd name="connsiteY141" fmla="*/ 1418 h 606061"/>
                <a:gd name="connsiteX142" fmla="*/ 220059 w 572723"/>
                <a:gd name="connsiteY142" fmla="*/ 4426 h 606061"/>
                <a:gd name="connsiteX143" fmla="*/ 220059 w 572723"/>
                <a:gd name="connsiteY143" fmla="*/ 5429 h 606061"/>
                <a:gd name="connsiteX144" fmla="*/ 211032 w 572723"/>
                <a:gd name="connsiteY144" fmla="*/ 7434 h 606061"/>
                <a:gd name="connsiteX145" fmla="*/ 194985 w 572723"/>
                <a:gd name="connsiteY145" fmla="*/ 15456 h 606061"/>
                <a:gd name="connsiteX146" fmla="*/ 180944 w 572723"/>
                <a:gd name="connsiteY146" fmla="*/ 24481 h 606061"/>
                <a:gd name="connsiteX147" fmla="*/ 170915 w 572723"/>
                <a:gd name="connsiteY147" fmla="*/ 28492 h 606061"/>
                <a:gd name="connsiteX148" fmla="*/ 176932 w 572723"/>
                <a:gd name="connsiteY148" fmla="*/ 25483 h 606061"/>
                <a:gd name="connsiteX149" fmla="*/ 189970 w 572723"/>
                <a:gd name="connsiteY149" fmla="*/ 17462 h 606061"/>
                <a:gd name="connsiteX150" fmla="*/ 203009 w 572723"/>
                <a:gd name="connsiteY150" fmla="*/ 10443 h 606061"/>
                <a:gd name="connsiteX151" fmla="*/ 206018 w 572723"/>
                <a:gd name="connsiteY151" fmla="*/ 8437 h 606061"/>
                <a:gd name="connsiteX152" fmla="*/ 195988 w 572723"/>
                <a:gd name="connsiteY152" fmla="*/ 12448 h 606061"/>
                <a:gd name="connsiteX153" fmla="*/ 178938 w 572723"/>
                <a:gd name="connsiteY153" fmla="*/ 21473 h 606061"/>
                <a:gd name="connsiteX154" fmla="*/ 162891 w 572723"/>
                <a:gd name="connsiteY154" fmla="*/ 31500 h 606061"/>
                <a:gd name="connsiteX155" fmla="*/ 154868 w 572723"/>
                <a:gd name="connsiteY155" fmla="*/ 36513 h 606061"/>
                <a:gd name="connsiteX156" fmla="*/ 149853 w 572723"/>
                <a:gd name="connsiteY156" fmla="*/ 41527 h 606061"/>
                <a:gd name="connsiteX157" fmla="*/ 145841 w 572723"/>
                <a:gd name="connsiteY157" fmla="*/ 40524 h 606061"/>
                <a:gd name="connsiteX158" fmla="*/ 144838 w 572723"/>
                <a:gd name="connsiteY158" fmla="*/ 41527 h 606061"/>
                <a:gd name="connsiteX159" fmla="*/ 140827 w 572723"/>
                <a:gd name="connsiteY159" fmla="*/ 42530 h 606061"/>
                <a:gd name="connsiteX160" fmla="*/ 127788 w 572723"/>
                <a:gd name="connsiteY160" fmla="*/ 52557 h 606061"/>
                <a:gd name="connsiteX161" fmla="*/ 115753 w 572723"/>
                <a:gd name="connsiteY161" fmla="*/ 64590 h 606061"/>
                <a:gd name="connsiteX162" fmla="*/ 121771 w 572723"/>
                <a:gd name="connsiteY162" fmla="*/ 52557 h 606061"/>
                <a:gd name="connsiteX163" fmla="*/ 122774 w 572723"/>
                <a:gd name="connsiteY163" fmla="*/ 52557 h 606061"/>
                <a:gd name="connsiteX164" fmla="*/ 125783 w 572723"/>
                <a:gd name="connsiteY164" fmla="*/ 47543 h 606061"/>
                <a:gd name="connsiteX165" fmla="*/ 112744 w 572723"/>
                <a:gd name="connsiteY165" fmla="*/ 59576 h 606061"/>
                <a:gd name="connsiteX166" fmla="*/ 109736 w 572723"/>
                <a:gd name="connsiteY166" fmla="*/ 61582 h 606061"/>
                <a:gd name="connsiteX167" fmla="*/ 109736 w 572723"/>
                <a:gd name="connsiteY167" fmla="*/ 61582 h 606061"/>
                <a:gd name="connsiteX168" fmla="*/ 107730 w 572723"/>
                <a:gd name="connsiteY168" fmla="*/ 61582 h 606061"/>
                <a:gd name="connsiteX169" fmla="*/ 107730 w 572723"/>
                <a:gd name="connsiteY169" fmla="*/ 60579 h 606061"/>
                <a:gd name="connsiteX170" fmla="*/ 96697 w 572723"/>
                <a:gd name="connsiteY170" fmla="*/ 70606 h 606061"/>
                <a:gd name="connsiteX171" fmla="*/ 83659 w 572723"/>
                <a:gd name="connsiteY171" fmla="*/ 86650 h 606061"/>
                <a:gd name="connsiteX172" fmla="*/ 81653 w 572723"/>
                <a:gd name="connsiteY172" fmla="*/ 90661 h 606061"/>
                <a:gd name="connsiteX173" fmla="*/ 61595 w 572723"/>
                <a:gd name="connsiteY173" fmla="*/ 114726 h 606061"/>
                <a:gd name="connsiteX174" fmla="*/ 64603 w 572723"/>
                <a:gd name="connsiteY174" fmla="*/ 115729 h 606061"/>
                <a:gd name="connsiteX175" fmla="*/ 59589 w 572723"/>
                <a:gd name="connsiteY175" fmla="*/ 123751 h 606061"/>
                <a:gd name="connsiteX176" fmla="*/ 54574 w 572723"/>
                <a:gd name="connsiteY176" fmla="*/ 125756 h 606061"/>
                <a:gd name="connsiteX177" fmla="*/ 49559 w 572723"/>
                <a:gd name="connsiteY177" fmla="*/ 126759 h 606061"/>
                <a:gd name="connsiteX178" fmla="*/ 43542 w 572723"/>
                <a:gd name="connsiteY178" fmla="*/ 138792 h 606061"/>
                <a:gd name="connsiteX179" fmla="*/ 42539 w 572723"/>
                <a:gd name="connsiteY179" fmla="*/ 146813 h 606061"/>
                <a:gd name="connsiteX180" fmla="*/ 34515 w 572723"/>
                <a:gd name="connsiteY180" fmla="*/ 158846 h 606061"/>
                <a:gd name="connsiteX181" fmla="*/ 32509 w 572723"/>
                <a:gd name="connsiteY181" fmla="*/ 156841 h 606061"/>
                <a:gd name="connsiteX182" fmla="*/ 22480 w 572723"/>
                <a:gd name="connsiteY182" fmla="*/ 175892 h 606061"/>
                <a:gd name="connsiteX183" fmla="*/ 19471 w 572723"/>
                <a:gd name="connsiteY183" fmla="*/ 196950 h 606061"/>
                <a:gd name="connsiteX184" fmla="*/ 17465 w 572723"/>
                <a:gd name="connsiteY184" fmla="*/ 204971 h 606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</a:cxnLst>
              <a:rect l="l" t="t" r="r" b="b"/>
              <a:pathLst>
                <a:path w="572723" h="606061">
                  <a:moveTo>
                    <a:pt x="17465" y="204971"/>
                  </a:moveTo>
                  <a:lnTo>
                    <a:pt x="15460" y="211990"/>
                  </a:lnTo>
                  <a:cubicBezTo>
                    <a:pt x="20474" y="187925"/>
                    <a:pt x="29501" y="163860"/>
                    <a:pt x="40533" y="140797"/>
                  </a:cubicBezTo>
                  <a:cubicBezTo>
                    <a:pt x="25489" y="163860"/>
                    <a:pt x="12451" y="192939"/>
                    <a:pt x="6433" y="221015"/>
                  </a:cubicBezTo>
                  <a:cubicBezTo>
                    <a:pt x="415" y="249091"/>
                    <a:pt x="1418" y="277168"/>
                    <a:pt x="8439" y="298225"/>
                  </a:cubicBezTo>
                  <a:cubicBezTo>
                    <a:pt x="4427" y="300230"/>
                    <a:pt x="1418" y="315271"/>
                    <a:pt x="415" y="329309"/>
                  </a:cubicBezTo>
                  <a:cubicBezTo>
                    <a:pt x="-588" y="343348"/>
                    <a:pt x="415" y="357386"/>
                    <a:pt x="1418" y="357386"/>
                  </a:cubicBezTo>
                  <a:cubicBezTo>
                    <a:pt x="4427" y="368416"/>
                    <a:pt x="7436" y="379446"/>
                    <a:pt x="10445" y="390476"/>
                  </a:cubicBezTo>
                  <a:cubicBezTo>
                    <a:pt x="8439" y="382454"/>
                    <a:pt x="6433" y="375435"/>
                    <a:pt x="4427" y="367413"/>
                  </a:cubicBezTo>
                  <a:cubicBezTo>
                    <a:pt x="6433" y="374432"/>
                    <a:pt x="8439" y="382454"/>
                    <a:pt x="10445" y="390476"/>
                  </a:cubicBezTo>
                  <a:cubicBezTo>
                    <a:pt x="15460" y="407522"/>
                    <a:pt x="21477" y="425571"/>
                    <a:pt x="29501" y="443620"/>
                  </a:cubicBezTo>
                  <a:cubicBezTo>
                    <a:pt x="37524" y="461669"/>
                    <a:pt x="47553" y="478716"/>
                    <a:pt x="60592" y="494759"/>
                  </a:cubicBezTo>
                  <a:cubicBezTo>
                    <a:pt x="86668" y="525844"/>
                    <a:pt x="120768" y="549909"/>
                    <a:pt x="156874" y="567958"/>
                  </a:cubicBezTo>
                  <a:cubicBezTo>
                    <a:pt x="176932" y="577985"/>
                    <a:pt x="216047" y="592024"/>
                    <a:pt x="257167" y="599043"/>
                  </a:cubicBezTo>
                  <a:cubicBezTo>
                    <a:pt x="278229" y="603054"/>
                    <a:pt x="299291" y="605059"/>
                    <a:pt x="317344" y="606062"/>
                  </a:cubicBezTo>
                  <a:cubicBezTo>
                    <a:pt x="336399" y="606062"/>
                    <a:pt x="353449" y="606062"/>
                    <a:pt x="364481" y="605059"/>
                  </a:cubicBezTo>
                  <a:cubicBezTo>
                    <a:pt x="371502" y="604056"/>
                    <a:pt x="378522" y="604056"/>
                    <a:pt x="385543" y="602051"/>
                  </a:cubicBezTo>
                  <a:cubicBezTo>
                    <a:pt x="373508" y="604056"/>
                    <a:pt x="373508" y="603054"/>
                    <a:pt x="362476" y="604056"/>
                  </a:cubicBezTo>
                  <a:cubicBezTo>
                    <a:pt x="390558" y="598040"/>
                    <a:pt x="415631" y="589015"/>
                    <a:pt x="438699" y="576983"/>
                  </a:cubicBezTo>
                  <a:cubicBezTo>
                    <a:pt x="433684" y="577985"/>
                    <a:pt x="432681" y="576983"/>
                    <a:pt x="422652" y="578988"/>
                  </a:cubicBezTo>
                  <a:cubicBezTo>
                    <a:pt x="426664" y="577985"/>
                    <a:pt x="430675" y="576983"/>
                    <a:pt x="434687" y="574977"/>
                  </a:cubicBezTo>
                  <a:cubicBezTo>
                    <a:pt x="444716" y="567958"/>
                    <a:pt x="467784" y="553920"/>
                    <a:pt x="476810" y="544896"/>
                  </a:cubicBezTo>
                  <a:cubicBezTo>
                    <a:pt x="475807" y="547904"/>
                    <a:pt x="483831" y="541887"/>
                    <a:pt x="490852" y="535871"/>
                  </a:cubicBezTo>
                  <a:lnTo>
                    <a:pt x="487843" y="536874"/>
                  </a:lnTo>
                  <a:cubicBezTo>
                    <a:pt x="500881" y="525844"/>
                    <a:pt x="512916" y="511806"/>
                    <a:pt x="521943" y="496765"/>
                  </a:cubicBezTo>
                  <a:cubicBezTo>
                    <a:pt x="530969" y="481724"/>
                    <a:pt x="537990" y="465680"/>
                    <a:pt x="543004" y="452645"/>
                  </a:cubicBezTo>
                  <a:cubicBezTo>
                    <a:pt x="544007" y="448634"/>
                    <a:pt x="546013" y="446628"/>
                    <a:pt x="547016" y="444623"/>
                  </a:cubicBezTo>
                  <a:cubicBezTo>
                    <a:pt x="549022" y="435598"/>
                    <a:pt x="552031" y="426574"/>
                    <a:pt x="553034" y="417549"/>
                  </a:cubicBezTo>
                  <a:cubicBezTo>
                    <a:pt x="555039" y="420557"/>
                    <a:pt x="560054" y="395489"/>
                    <a:pt x="559051" y="409528"/>
                  </a:cubicBezTo>
                  <a:cubicBezTo>
                    <a:pt x="561057" y="388470"/>
                    <a:pt x="566072" y="369418"/>
                    <a:pt x="566072" y="350367"/>
                  </a:cubicBezTo>
                  <a:cubicBezTo>
                    <a:pt x="571086" y="317277"/>
                    <a:pt x="575098" y="281179"/>
                    <a:pt x="571086" y="244078"/>
                  </a:cubicBezTo>
                  <a:cubicBezTo>
                    <a:pt x="567075" y="206977"/>
                    <a:pt x="552031" y="169876"/>
                    <a:pt x="528963" y="142802"/>
                  </a:cubicBezTo>
                  <a:lnTo>
                    <a:pt x="528963" y="144808"/>
                  </a:lnTo>
                  <a:cubicBezTo>
                    <a:pt x="512916" y="125756"/>
                    <a:pt x="493860" y="112721"/>
                    <a:pt x="469790" y="94672"/>
                  </a:cubicBezTo>
                  <a:cubicBezTo>
                    <a:pt x="459760" y="89658"/>
                    <a:pt x="447725" y="84644"/>
                    <a:pt x="437696" y="81636"/>
                  </a:cubicBezTo>
                  <a:cubicBezTo>
                    <a:pt x="432681" y="79631"/>
                    <a:pt x="427667" y="78628"/>
                    <a:pt x="422652" y="78628"/>
                  </a:cubicBezTo>
                  <a:cubicBezTo>
                    <a:pt x="418640" y="78628"/>
                    <a:pt x="414628" y="77625"/>
                    <a:pt x="412623" y="78628"/>
                  </a:cubicBezTo>
                  <a:cubicBezTo>
                    <a:pt x="406605" y="77625"/>
                    <a:pt x="401590" y="76623"/>
                    <a:pt x="397579" y="75620"/>
                  </a:cubicBezTo>
                  <a:cubicBezTo>
                    <a:pt x="392564" y="75620"/>
                    <a:pt x="388552" y="74617"/>
                    <a:pt x="384540" y="74617"/>
                  </a:cubicBezTo>
                  <a:cubicBezTo>
                    <a:pt x="380528" y="74617"/>
                    <a:pt x="376517" y="74617"/>
                    <a:pt x="372505" y="74617"/>
                  </a:cubicBezTo>
                  <a:cubicBezTo>
                    <a:pt x="368493" y="74617"/>
                    <a:pt x="363478" y="74617"/>
                    <a:pt x="357461" y="75620"/>
                  </a:cubicBezTo>
                  <a:cubicBezTo>
                    <a:pt x="360470" y="76623"/>
                    <a:pt x="355455" y="77625"/>
                    <a:pt x="350440" y="78628"/>
                  </a:cubicBezTo>
                  <a:cubicBezTo>
                    <a:pt x="346429" y="79631"/>
                    <a:pt x="341414" y="80633"/>
                    <a:pt x="347432" y="80633"/>
                  </a:cubicBezTo>
                  <a:cubicBezTo>
                    <a:pt x="361473" y="83642"/>
                    <a:pt x="362476" y="80633"/>
                    <a:pt x="374511" y="83642"/>
                  </a:cubicBezTo>
                  <a:lnTo>
                    <a:pt x="374511" y="82639"/>
                  </a:lnTo>
                  <a:cubicBezTo>
                    <a:pt x="402593" y="86650"/>
                    <a:pt x="428669" y="97680"/>
                    <a:pt x="451737" y="113723"/>
                  </a:cubicBezTo>
                  <a:cubicBezTo>
                    <a:pt x="474804" y="129767"/>
                    <a:pt x="494863" y="149822"/>
                    <a:pt x="507902" y="173887"/>
                  </a:cubicBezTo>
                  <a:cubicBezTo>
                    <a:pt x="518934" y="188928"/>
                    <a:pt x="525954" y="206977"/>
                    <a:pt x="528963" y="226029"/>
                  </a:cubicBezTo>
                  <a:cubicBezTo>
                    <a:pt x="532975" y="245080"/>
                    <a:pt x="532975" y="266138"/>
                    <a:pt x="531972" y="286192"/>
                  </a:cubicBezTo>
                  <a:cubicBezTo>
                    <a:pt x="530969" y="308252"/>
                    <a:pt x="527960" y="332318"/>
                    <a:pt x="524951" y="355380"/>
                  </a:cubicBezTo>
                  <a:cubicBezTo>
                    <a:pt x="521943" y="378443"/>
                    <a:pt x="518934" y="400503"/>
                    <a:pt x="513919" y="418552"/>
                  </a:cubicBezTo>
                  <a:cubicBezTo>
                    <a:pt x="511913" y="427577"/>
                    <a:pt x="507902" y="432590"/>
                    <a:pt x="503890" y="439609"/>
                  </a:cubicBezTo>
                  <a:cubicBezTo>
                    <a:pt x="497872" y="455653"/>
                    <a:pt x="489849" y="472699"/>
                    <a:pt x="477813" y="487740"/>
                  </a:cubicBezTo>
                  <a:cubicBezTo>
                    <a:pt x="465778" y="502781"/>
                    <a:pt x="450734" y="515816"/>
                    <a:pt x="434687" y="525844"/>
                  </a:cubicBezTo>
                  <a:cubicBezTo>
                    <a:pt x="435690" y="525844"/>
                    <a:pt x="435690" y="524841"/>
                    <a:pt x="436693" y="524841"/>
                  </a:cubicBezTo>
                  <a:cubicBezTo>
                    <a:pt x="419643" y="534868"/>
                    <a:pt x="404599" y="538879"/>
                    <a:pt x="385543" y="543893"/>
                  </a:cubicBezTo>
                  <a:cubicBezTo>
                    <a:pt x="385543" y="544896"/>
                    <a:pt x="382534" y="545898"/>
                    <a:pt x="381531" y="545898"/>
                  </a:cubicBezTo>
                  <a:cubicBezTo>
                    <a:pt x="380528" y="544896"/>
                    <a:pt x="372505" y="546901"/>
                    <a:pt x="361473" y="548906"/>
                  </a:cubicBezTo>
                  <a:cubicBezTo>
                    <a:pt x="350440" y="550912"/>
                    <a:pt x="335396" y="552917"/>
                    <a:pt x="320352" y="554923"/>
                  </a:cubicBezTo>
                  <a:cubicBezTo>
                    <a:pt x="289261" y="556928"/>
                    <a:pt x="257167" y="553920"/>
                    <a:pt x="254158" y="551915"/>
                  </a:cubicBezTo>
                  <a:cubicBezTo>
                    <a:pt x="252153" y="551915"/>
                    <a:pt x="250147" y="550912"/>
                    <a:pt x="247138" y="550912"/>
                  </a:cubicBezTo>
                  <a:cubicBezTo>
                    <a:pt x="226076" y="545898"/>
                    <a:pt x="204012" y="537876"/>
                    <a:pt x="184956" y="527849"/>
                  </a:cubicBezTo>
                  <a:cubicBezTo>
                    <a:pt x="165900" y="518825"/>
                    <a:pt x="148850" y="507795"/>
                    <a:pt x="133806" y="498770"/>
                  </a:cubicBezTo>
                  <a:cubicBezTo>
                    <a:pt x="126786" y="495762"/>
                    <a:pt x="118762" y="491751"/>
                    <a:pt x="112744" y="488743"/>
                  </a:cubicBezTo>
                  <a:cubicBezTo>
                    <a:pt x="108733" y="483729"/>
                    <a:pt x="105724" y="484732"/>
                    <a:pt x="100709" y="478716"/>
                  </a:cubicBezTo>
                  <a:cubicBezTo>
                    <a:pt x="91683" y="460667"/>
                    <a:pt x="84662" y="452645"/>
                    <a:pt x="87671" y="462672"/>
                  </a:cubicBezTo>
                  <a:cubicBezTo>
                    <a:pt x="76639" y="450639"/>
                    <a:pt x="69618" y="436601"/>
                    <a:pt x="64603" y="423566"/>
                  </a:cubicBezTo>
                  <a:cubicBezTo>
                    <a:pt x="61595" y="417549"/>
                    <a:pt x="58586" y="411533"/>
                    <a:pt x="56580" y="405517"/>
                  </a:cubicBezTo>
                  <a:cubicBezTo>
                    <a:pt x="54574" y="400503"/>
                    <a:pt x="54574" y="396492"/>
                    <a:pt x="55577" y="393484"/>
                  </a:cubicBezTo>
                  <a:cubicBezTo>
                    <a:pt x="51565" y="379446"/>
                    <a:pt x="53571" y="383457"/>
                    <a:pt x="51565" y="367413"/>
                  </a:cubicBezTo>
                  <a:cubicBezTo>
                    <a:pt x="52568" y="365408"/>
                    <a:pt x="49559" y="355380"/>
                    <a:pt x="47553" y="345353"/>
                  </a:cubicBezTo>
                  <a:cubicBezTo>
                    <a:pt x="45548" y="335326"/>
                    <a:pt x="43542" y="325299"/>
                    <a:pt x="43542" y="323293"/>
                  </a:cubicBezTo>
                  <a:lnTo>
                    <a:pt x="43542" y="326301"/>
                  </a:lnTo>
                  <a:cubicBezTo>
                    <a:pt x="42539" y="307249"/>
                    <a:pt x="47553" y="295217"/>
                    <a:pt x="48556" y="278170"/>
                  </a:cubicBezTo>
                  <a:cubicBezTo>
                    <a:pt x="50562" y="253102"/>
                    <a:pt x="54574" y="228034"/>
                    <a:pt x="61595" y="203969"/>
                  </a:cubicBezTo>
                  <a:cubicBezTo>
                    <a:pt x="67612" y="179903"/>
                    <a:pt x="77641" y="156841"/>
                    <a:pt x="89677" y="137789"/>
                  </a:cubicBezTo>
                  <a:cubicBezTo>
                    <a:pt x="87671" y="135783"/>
                    <a:pt x="85665" y="146813"/>
                    <a:pt x="82656" y="145811"/>
                  </a:cubicBezTo>
                  <a:cubicBezTo>
                    <a:pt x="95694" y="121745"/>
                    <a:pt x="113747" y="102693"/>
                    <a:pt x="132803" y="85647"/>
                  </a:cubicBezTo>
                  <a:cubicBezTo>
                    <a:pt x="136815" y="82639"/>
                    <a:pt x="141830" y="80633"/>
                    <a:pt x="143835" y="79631"/>
                  </a:cubicBezTo>
                  <a:cubicBezTo>
                    <a:pt x="150856" y="74617"/>
                    <a:pt x="146844" y="75620"/>
                    <a:pt x="151859" y="72612"/>
                  </a:cubicBezTo>
                  <a:lnTo>
                    <a:pt x="153865" y="73614"/>
                  </a:lnTo>
                  <a:cubicBezTo>
                    <a:pt x="159882" y="66595"/>
                    <a:pt x="165900" y="68601"/>
                    <a:pt x="171918" y="62584"/>
                  </a:cubicBezTo>
                  <a:cubicBezTo>
                    <a:pt x="171918" y="61582"/>
                    <a:pt x="173923" y="59576"/>
                    <a:pt x="176932" y="58573"/>
                  </a:cubicBezTo>
                  <a:cubicBezTo>
                    <a:pt x="177935" y="60579"/>
                    <a:pt x="184956" y="53560"/>
                    <a:pt x="184956" y="56568"/>
                  </a:cubicBezTo>
                  <a:lnTo>
                    <a:pt x="184956" y="56568"/>
                  </a:lnTo>
                  <a:cubicBezTo>
                    <a:pt x="186962" y="55565"/>
                    <a:pt x="187964" y="55565"/>
                    <a:pt x="189970" y="54563"/>
                  </a:cubicBezTo>
                  <a:cubicBezTo>
                    <a:pt x="190973" y="53560"/>
                    <a:pt x="197994" y="47543"/>
                    <a:pt x="206018" y="43533"/>
                  </a:cubicBezTo>
                  <a:cubicBezTo>
                    <a:pt x="213038" y="38519"/>
                    <a:pt x="221062" y="34508"/>
                    <a:pt x="223067" y="33505"/>
                  </a:cubicBezTo>
                  <a:lnTo>
                    <a:pt x="225073" y="33505"/>
                  </a:lnTo>
                  <a:cubicBezTo>
                    <a:pt x="230088" y="32503"/>
                    <a:pt x="231091" y="30497"/>
                    <a:pt x="228082" y="30497"/>
                  </a:cubicBezTo>
                  <a:lnTo>
                    <a:pt x="234100" y="29494"/>
                  </a:lnTo>
                  <a:lnTo>
                    <a:pt x="233097" y="29494"/>
                  </a:lnTo>
                  <a:lnTo>
                    <a:pt x="239114" y="28492"/>
                  </a:lnTo>
                  <a:cubicBezTo>
                    <a:pt x="240117" y="28492"/>
                    <a:pt x="241120" y="29494"/>
                    <a:pt x="240117" y="30497"/>
                  </a:cubicBezTo>
                  <a:cubicBezTo>
                    <a:pt x="243126" y="29494"/>
                    <a:pt x="247138" y="28492"/>
                    <a:pt x="250147" y="28492"/>
                  </a:cubicBezTo>
                  <a:cubicBezTo>
                    <a:pt x="241120" y="28492"/>
                    <a:pt x="229085" y="28492"/>
                    <a:pt x="219056" y="29494"/>
                  </a:cubicBezTo>
                  <a:cubicBezTo>
                    <a:pt x="223067" y="27489"/>
                    <a:pt x="230088" y="27489"/>
                    <a:pt x="234100" y="25483"/>
                  </a:cubicBezTo>
                  <a:cubicBezTo>
                    <a:pt x="237109" y="25483"/>
                    <a:pt x="241120" y="25483"/>
                    <a:pt x="245132" y="25483"/>
                  </a:cubicBezTo>
                  <a:cubicBezTo>
                    <a:pt x="249144" y="25483"/>
                    <a:pt x="254158" y="25483"/>
                    <a:pt x="258170" y="25483"/>
                  </a:cubicBezTo>
                  <a:cubicBezTo>
                    <a:pt x="260176" y="25483"/>
                    <a:pt x="261179" y="22475"/>
                    <a:pt x="265191" y="23478"/>
                  </a:cubicBezTo>
                  <a:cubicBezTo>
                    <a:pt x="267197" y="25483"/>
                    <a:pt x="270205" y="23478"/>
                    <a:pt x="273214" y="24481"/>
                  </a:cubicBezTo>
                  <a:cubicBezTo>
                    <a:pt x="269202" y="25483"/>
                    <a:pt x="265191" y="25483"/>
                    <a:pt x="261179" y="25483"/>
                  </a:cubicBezTo>
                  <a:cubicBezTo>
                    <a:pt x="261179" y="26486"/>
                    <a:pt x="264188" y="26486"/>
                    <a:pt x="266194" y="26486"/>
                  </a:cubicBezTo>
                  <a:cubicBezTo>
                    <a:pt x="269202" y="26486"/>
                    <a:pt x="272211" y="26486"/>
                    <a:pt x="273214" y="26486"/>
                  </a:cubicBezTo>
                  <a:cubicBezTo>
                    <a:pt x="274217" y="25483"/>
                    <a:pt x="282241" y="26486"/>
                    <a:pt x="287255" y="26486"/>
                  </a:cubicBezTo>
                  <a:cubicBezTo>
                    <a:pt x="285249" y="28492"/>
                    <a:pt x="291267" y="28492"/>
                    <a:pt x="293273" y="29494"/>
                  </a:cubicBezTo>
                  <a:cubicBezTo>
                    <a:pt x="296282" y="29494"/>
                    <a:pt x="298288" y="29494"/>
                    <a:pt x="297285" y="28492"/>
                  </a:cubicBezTo>
                  <a:cubicBezTo>
                    <a:pt x="298288" y="26486"/>
                    <a:pt x="285249" y="25483"/>
                    <a:pt x="289261" y="23478"/>
                  </a:cubicBezTo>
                  <a:cubicBezTo>
                    <a:pt x="290264" y="24481"/>
                    <a:pt x="296282" y="24481"/>
                    <a:pt x="300294" y="25483"/>
                  </a:cubicBezTo>
                  <a:cubicBezTo>
                    <a:pt x="300294" y="24481"/>
                    <a:pt x="298288" y="24481"/>
                    <a:pt x="300294" y="23478"/>
                  </a:cubicBezTo>
                  <a:cubicBezTo>
                    <a:pt x="304305" y="24481"/>
                    <a:pt x="308317" y="23478"/>
                    <a:pt x="310323" y="25483"/>
                  </a:cubicBezTo>
                  <a:cubicBezTo>
                    <a:pt x="309320" y="25483"/>
                    <a:pt x="308317" y="25483"/>
                    <a:pt x="307314" y="24481"/>
                  </a:cubicBezTo>
                  <a:cubicBezTo>
                    <a:pt x="309320" y="25483"/>
                    <a:pt x="302300" y="25483"/>
                    <a:pt x="296282" y="26486"/>
                  </a:cubicBezTo>
                  <a:cubicBezTo>
                    <a:pt x="289261" y="27489"/>
                    <a:pt x="283243" y="29494"/>
                    <a:pt x="286252" y="28492"/>
                  </a:cubicBezTo>
                  <a:cubicBezTo>
                    <a:pt x="285249" y="28492"/>
                    <a:pt x="292270" y="26486"/>
                    <a:pt x="299291" y="25483"/>
                  </a:cubicBezTo>
                  <a:cubicBezTo>
                    <a:pt x="306311" y="25483"/>
                    <a:pt x="313332" y="24481"/>
                    <a:pt x="311326" y="24481"/>
                  </a:cubicBezTo>
                  <a:cubicBezTo>
                    <a:pt x="308317" y="23478"/>
                    <a:pt x="314335" y="22475"/>
                    <a:pt x="311326" y="21473"/>
                  </a:cubicBezTo>
                  <a:lnTo>
                    <a:pt x="307314" y="22475"/>
                  </a:lnTo>
                  <a:cubicBezTo>
                    <a:pt x="303302" y="21473"/>
                    <a:pt x="302300" y="18464"/>
                    <a:pt x="303302" y="18464"/>
                  </a:cubicBezTo>
                  <a:cubicBezTo>
                    <a:pt x="307314" y="19467"/>
                    <a:pt x="301297" y="20470"/>
                    <a:pt x="296282" y="21473"/>
                  </a:cubicBezTo>
                  <a:cubicBezTo>
                    <a:pt x="291267" y="22475"/>
                    <a:pt x="285249" y="24481"/>
                    <a:pt x="288258" y="23478"/>
                  </a:cubicBezTo>
                  <a:lnTo>
                    <a:pt x="290264" y="24481"/>
                  </a:lnTo>
                  <a:cubicBezTo>
                    <a:pt x="293273" y="24481"/>
                    <a:pt x="300294" y="23478"/>
                    <a:pt x="302300" y="25483"/>
                  </a:cubicBezTo>
                  <a:cubicBezTo>
                    <a:pt x="302300" y="24481"/>
                    <a:pt x="306311" y="24481"/>
                    <a:pt x="309320" y="24481"/>
                  </a:cubicBezTo>
                  <a:lnTo>
                    <a:pt x="310323" y="24481"/>
                  </a:lnTo>
                  <a:cubicBezTo>
                    <a:pt x="313332" y="24481"/>
                    <a:pt x="317344" y="25483"/>
                    <a:pt x="316341" y="23478"/>
                  </a:cubicBezTo>
                  <a:cubicBezTo>
                    <a:pt x="307314" y="22475"/>
                    <a:pt x="311326" y="19467"/>
                    <a:pt x="314335" y="16459"/>
                  </a:cubicBezTo>
                  <a:cubicBezTo>
                    <a:pt x="318346" y="13451"/>
                    <a:pt x="322358" y="11445"/>
                    <a:pt x="313332" y="9440"/>
                  </a:cubicBezTo>
                  <a:cubicBezTo>
                    <a:pt x="320352" y="13451"/>
                    <a:pt x="310323" y="11445"/>
                    <a:pt x="302300" y="10443"/>
                  </a:cubicBezTo>
                  <a:cubicBezTo>
                    <a:pt x="301297" y="9440"/>
                    <a:pt x="298288" y="7434"/>
                    <a:pt x="292270" y="6432"/>
                  </a:cubicBezTo>
                  <a:cubicBezTo>
                    <a:pt x="287255" y="6432"/>
                    <a:pt x="289261" y="7434"/>
                    <a:pt x="288258" y="7434"/>
                  </a:cubicBezTo>
                  <a:cubicBezTo>
                    <a:pt x="285249" y="6432"/>
                    <a:pt x="280235" y="6432"/>
                    <a:pt x="281238" y="4426"/>
                  </a:cubicBezTo>
                  <a:cubicBezTo>
                    <a:pt x="277226" y="6432"/>
                    <a:pt x="275220" y="3424"/>
                    <a:pt x="270205" y="4426"/>
                  </a:cubicBezTo>
                  <a:cubicBezTo>
                    <a:pt x="266194" y="5429"/>
                    <a:pt x="270205" y="5429"/>
                    <a:pt x="267197" y="6432"/>
                  </a:cubicBezTo>
                  <a:cubicBezTo>
                    <a:pt x="261179" y="6432"/>
                    <a:pt x="252153" y="7434"/>
                    <a:pt x="247138" y="7434"/>
                  </a:cubicBezTo>
                  <a:cubicBezTo>
                    <a:pt x="245132" y="6432"/>
                    <a:pt x="239114" y="5429"/>
                    <a:pt x="243126" y="2421"/>
                  </a:cubicBezTo>
                  <a:cubicBezTo>
                    <a:pt x="253155" y="1418"/>
                    <a:pt x="240117" y="6432"/>
                    <a:pt x="250147" y="4426"/>
                  </a:cubicBezTo>
                  <a:cubicBezTo>
                    <a:pt x="245132" y="2421"/>
                    <a:pt x="259173" y="2421"/>
                    <a:pt x="260176" y="415"/>
                  </a:cubicBezTo>
                  <a:cubicBezTo>
                    <a:pt x="257167" y="-587"/>
                    <a:pt x="250147" y="415"/>
                    <a:pt x="245132" y="1418"/>
                  </a:cubicBezTo>
                  <a:lnTo>
                    <a:pt x="246135" y="1418"/>
                  </a:lnTo>
                  <a:cubicBezTo>
                    <a:pt x="241120" y="2421"/>
                    <a:pt x="232094" y="5429"/>
                    <a:pt x="226076" y="4426"/>
                  </a:cubicBezTo>
                  <a:cubicBezTo>
                    <a:pt x="227079" y="3424"/>
                    <a:pt x="225073" y="2421"/>
                    <a:pt x="228082" y="1418"/>
                  </a:cubicBezTo>
                  <a:lnTo>
                    <a:pt x="220059" y="4426"/>
                  </a:lnTo>
                  <a:cubicBezTo>
                    <a:pt x="219056" y="5429"/>
                    <a:pt x="218053" y="5429"/>
                    <a:pt x="220059" y="5429"/>
                  </a:cubicBezTo>
                  <a:cubicBezTo>
                    <a:pt x="217050" y="7434"/>
                    <a:pt x="214041" y="7434"/>
                    <a:pt x="211032" y="7434"/>
                  </a:cubicBezTo>
                  <a:cubicBezTo>
                    <a:pt x="210029" y="7434"/>
                    <a:pt x="202006" y="10443"/>
                    <a:pt x="194985" y="15456"/>
                  </a:cubicBezTo>
                  <a:cubicBezTo>
                    <a:pt x="186962" y="19467"/>
                    <a:pt x="179941" y="24481"/>
                    <a:pt x="180944" y="24481"/>
                  </a:cubicBezTo>
                  <a:cubicBezTo>
                    <a:pt x="176932" y="26486"/>
                    <a:pt x="174926" y="25483"/>
                    <a:pt x="170915" y="28492"/>
                  </a:cubicBezTo>
                  <a:cubicBezTo>
                    <a:pt x="170915" y="28492"/>
                    <a:pt x="172920" y="27489"/>
                    <a:pt x="176932" y="25483"/>
                  </a:cubicBezTo>
                  <a:cubicBezTo>
                    <a:pt x="180944" y="23478"/>
                    <a:pt x="184956" y="20470"/>
                    <a:pt x="189970" y="17462"/>
                  </a:cubicBezTo>
                  <a:cubicBezTo>
                    <a:pt x="194985" y="15456"/>
                    <a:pt x="198997" y="12448"/>
                    <a:pt x="203009" y="10443"/>
                  </a:cubicBezTo>
                  <a:cubicBezTo>
                    <a:pt x="206018" y="9440"/>
                    <a:pt x="208023" y="8437"/>
                    <a:pt x="206018" y="8437"/>
                  </a:cubicBezTo>
                  <a:cubicBezTo>
                    <a:pt x="205015" y="8437"/>
                    <a:pt x="201003" y="9440"/>
                    <a:pt x="195988" y="12448"/>
                  </a:cubicBezTo>
                  <a:cubicBezTo>
                    <a:pt x="190973" y="14454"/>
                    <a:pt x="184956" y="18464"/>
                    <a:pt x="178938" y="21473"/>
                  </a:cubicBezTo>
                  <a:cubicBezTo>
                    <a:pt x="172920" y="24481"/>
                    <a:pt x="167906" y="28492"/>
                    <a:pt x="162891" y="31500"/>
                  </a:cubicBezTo>
                  <a:cubicBezTo>
                    <a:pt x="158879" y="34508"/>
                    <a:pt x="155871" y="36513"/>
                    <a:pt x="154868" y="36513"/>
                  </a:cubicBezTo>
                  <a:cubicBezTo>
                    <a:pt x="151859" y="38519"/>
                    <a:pt x="148850" y="41527"/>
                    <a:pt x="149853" y="41527"/>
                  </a:cubicBezTo>
                  <a:cubicBezTo>
                    <a:pt x="144838" y="44535"/>
                    <a:pt x="149853" y="38519"/>
                    <a:pt x="145841" y="40524"/>
                  </a:cubicBezTo>
                  <a:cubicBezTo>
                    <a:pt x="145841" y="40524"/>
                    <a:pt x="146844" y="40524"/>
                    <a:pt x="144838" y="41527"/>
                  </a:cubicBezTo>
                  <a:cubicBezTo>
                    <a:pt x="143835" y="41527"/>
                    <a:pt x="141830" y="42530"/>
                    <a:pt x="140827" y="42530"/>
                  </a:cubicBezTo>
                  <a:cubicBezTo>
                    <a:pt x="137818" y="46541"/>
                    <a:pt x="132803" y="49549"/>
                    <a:pt x="127788" y="52557"/>
                  </a:cubicBezTo>
                  <a:cubicBezTo>
                    <a:pt x="123777" y="56568"/>
                    <a:pt x="118762" y="60579"/>
                    <a:pt x="115753" y="64590"/>
                  </a:cubicBezTo>
                  <a:cubicBezTo>
                    <a:pt x="116756" y="61582"/>
                    <a:pt x="117759" y="57571"/>
                    <a:pt x="121771" y="52557"/>
                  </a:cubicBezTo>
                  <a:lnTo>
                    <a:pt x="122774" y="52557"/>
                  </a:lnTo>
                  <a:cubicBezTo>
                    <a:pt x="122774" y="51554"/>
                    <a:pt x="126786" y="47543"/>
                    <a:pt x="125783" y="47543"/>
                  </a:cubicBezTo>
                  <a:cubicBezTo>
                    <a:pt x="120768" y="50552"/>
                    <a:pt x="116756" y="54563"/>
                    <a:pt x="112744" y="59576"/>
                  </a:cubicBezTo>
                  <a:cubicBezTo>
                    <a:pt x="111742" y="60579"/>
                    <a:pt x="110739" y="60579"/>
                    <a:pt x="109736" y="61582"/>
                  </a:cubicBezTo>
                  <a:cubicBezTo>
                    <a:pt x="109736" y="61582"/>
                    <a:pt x="109736" y="61582"/>
                    <a:pt x="109736" y="61582"/>
                  </a:cubicBezTo>
                  <a:cubicBezTo>
                    <a:pt x="107730" y="62584"/>
                    <a:pt x="107730" y="62584"/>
                    <a:pt x="107730" y="61582"/>
                  </a:cubicBezTo>
                  <a:cubicBezTo>
                    <a:pt x="107730" y="61582"/>
                    <a:pt x="107730" y="61582"/>
                    <a:pt x="107730" y="60579"/>
                  </a:cubicBezTo>
                  <a:cubicBezTo>
                    <a:pt x="104721" y="60579"/>
                    <a:pt x="101712" y="65593"/>
                    <a:pt x="96697" y="70606"/>
                  </a:cubicBezTo>
                  <a:cubicBezTo>
                    <a:pt x="92685" y="76623"/>
                    <a:pt x="87671" y="82639"/>
                    <a:pt x="83659" y="86650"/>
                  </a:cubicBezTo>
                  <a:cubicBezTo>
                    <a:pt x="81653" y="89658"/>
                    <a:pt x="83659" y="87652"/>
                    <a:pt x="81653" y="90661"/>
                  </a:cubicBezTo>
                  <a:cubicBezTo>
                    <a:pt x="73630" y="98682"/>
                    <a:pt x="68615" y="104699"/>
                    <a:pt x="61595" y="114726"/>
                  </a:cubicBezTo>
                  <a:cubicBezTo>
                    <a:pt x="60592" y="118737"/>
                    <a:pt x="61595" y="119740"/>
                    <a:pt x="64603" y="115729"/>
                  </a:cubicBezTo>
                  <a:lnTo>
                    <a:pt x="59589" y="123751"/>
                  </a:lnTo>
                  <a:cubicBezTo>
                    <a:pt x="59589" y="119740"/>
                    <a:pt x="56580" y="122748"/>
                    <a:pt x="54574" y="125756"/>
                  </a:cubicBezTo>
                  <a:cubicBezTo>
                    <a:pt x="51565" y="128764"/>
                    <a:pt x="49559" y="131772"/>
                    <a:pt x="49559" y="126759"/>
                  </a:cubicBezTo>
                  <a:cubicBezTo>
                    <a:pt x="47553" y="128764"/>
                    <a:pt x="44545" y="133778"/>
                    <a:pt x="43542" y="138792"/>
                  </a:cubicBezTo>
                  <a:cubicBezTo>
                    <a:pt x="44545" y="139794"/>
                    <a:pt x="45548" y="140797"/>
                    <a:pt x="42539" y="146813"/>
                  </a:cubicBezTo>
                  <a:cubicBezTo>
                    <a:pt x="37524" y="154835"/>
                    <a:pt x="38527" y="152830"/>
                    <a:pt x="34515" y="158846"/>
                  </a:cubicBezTo>
                  <a:cubicBezTo>
                    <a:pt x="32509" y="159849"/>
                    <a:pt x="33512" y="156841"/>
                    <a:pt x="32509" y="156841"/>
                  </a:cubicBezTo>
                  <a:cubicBezTo>
                    <a:pt x="30504" y="167871"/>
                    <a:pt x="26492" y="164862"/>
                    <a:pt x="22480" y="175892"/>
                  </a:cubicBezTo>
                  <a:cubicBezTo>
                    <a:pt x="20474" y="182911"/>
                    <a:pt x="17465" y="195947"/>
                    <a:pt x="19471" y="196950"/>
                  </a:cubicBezTo>
                  <a:cubicBezTo>
                    <a:pt x="20474" y="206977"/>
                    <a:pt x="19471" y="205974"/>
                    <a:pt x="17465" y="204971"/>
                  </a:cubicBezTo>
                  <a:close/>
                </a:path>
              </a:pathLst>
            </a:custGeom>
            <a:solidFill>
              <a:srgbClr val="154573"/>
            </a:solidFill>
            <a:ln w="100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 sz="1800"/>
            </a:p>
          </p:txBody>
        </p:sp>
      </p:grpSp>
      <p:grpSp>
        <p:nvGrpSpPr>
          <p:cNvPr id="23" name="Gruppe 22">
            <a:extLst>
              <a:ext uri="{FF2B5EF4-FFF2-40B4-BE49-F238E27FC236}">
                <a16:creationId xmlns:a16="http://schemas.microsoft.com/office/drawing/2014/main" id="{9EE11248-F3BF-864C-A177-EBFB23D8503C}"/>
              </a:ext>
            </a:extLst>
          </p:cNvPr>
          <p:cNvGrpSpPr/>
          <p:nvPr userDrawn="1"/>
        </p:nvGrpSpPr>
        <p:grpSpPr>
          <a:xfrm>
            <a:off x="1308674" y="3024887"/>
            <a:ext cx="592351" cy="906402"/>
            <a:chOff x="2203157" y="4098931"/>
            <a:chExt cx="592351" cy="906402"/>
          </a:xfrm>
        </p:grpSpPr>
        <p:sp>
          <p:nvSpPr>
            <p:cNvPr id="13" name="Tekstfelt 12">
              <a:extLst>
                <a:ext uri="{FF2B5EF4-FFF2-40B4-BE49-F238E27FC236}">
                  <a16:creationId xmlns:a16="http://schemas.microsoft.com/office/drawing/2014/main" id="{79CFF0CC-1C59-7142-A8CC-AF4FDFDE936E}"/>
                </a:ext>
              </a:extLst>
            </p:cNvPr>
            <p:cNvSpPr txBox="1"/>
            <p:nvPr/>
          </p:nvSpPr>
          <p:spPr>
            <a:xfrm>
              <a:off x="2267799" y="4098931"/>
              <a:ext cx="527709" cy="9064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da-DK" sz="5290" spc="0" baseline="0">
                  <a:solidFill>
                    <a:srgbClr val="154573"/>
                  </a:solidFill>
                  <a:latin typeface="Manus"/>
                  <a:sym typeface="Manus"/>
                  <a:rtl val="0"/>
                </a:rPr>
                <a:t>2</a:t>
              </a:r>
            </a:p>
          </p:txBody>
        </p:sp>
        <p:sp>
          <p:nvSpPr>
            <p:cNvPr id="19" name="Kombinationstegning 18">
              <a:extLst>
                <a:ext uri="{FF2B5EF4-FFF2-40B4-BE49-F238E27FC236}">
                  <a16:creationId xmlns:a16="http://schemas.microsoft.com/office/drawing/2014/main" id="{98186A7F-E04F-A344-8C97-E1F4020EE1C7}"/>
                </a:ext>
              </a:extLst>
            </p:cNvPr>
            <p:cNvSpPr/>
            <p:nvPr/>
          </p:nvSpPr>
          <p:spPr>
            <a:xfrm>
              <a:off x="2203157" y="4178700"/>
              <a:ext cx="572724" cy="608067"/>
            </a:xfrm>
            <a:custGeom>
              <a:avLst/>
              <a:gdLst>
                <a:gd name="connsiteX0" fmla="*/ 17465 w 572724"/>
                <a:gd name="connsiteY0" fmla="*/ 206977 h 608067"/>
                <a:gd name="connsiteX1" fmla="*/ 15460 w 572724"/>
                <a:gd name="connsiteY1" fmla="*/ 213996 h 608067"/>
                <a:gd name="connsiteX2" fmla="*/ 40533 w 572724"/>
                <a:gd name="connsiteY2" fmla="*/ 142802 h 608067"/>
                <a:gd name="connsiteX3" fmla="*/ 6433 w 572724"/>
                <a:gd name="connsiteY3" fmla="*/ 223021 h 608067"/>
                <a:gd name="connsiteX4" fmla="*/ 8439 w 572724"/>
                <a:gd name="connsiteY4" fmla="*/ 300230 h 608067"/>
                <a:gd name="connsiteX5" fmla="*/ 415 w 572724"/>
                <a:gd name="connsiteY5" fmla="*/ 331315 h 608067"/>
                <a:gd name="connsiteX6" fmla="*/ 1418 w 572724"/>
                <a:gd name="connsiteY6" fmla="*/ 359391 h 608067"/>
                <a:gd name="connsiteX7" fmla="*/ 10445 w 572724"/>
                <a:gd name="connsiteY7" fmla="*/ 392481 h 608067"/>
                <a:gd name="connsiteX8" fmla="*/ 4427 w 572724"/>
                <a:gd name="connsiteY8" fmla="*/ 369418 h 608067"/>
                <a:gd name="connsiteX9" fmla="*/ 10445 w 572724"/>
                <a:gd name="connsiteY9" fmla="*/ 392481 h 608067"/>
                <a:gd name="connsiteX10" fmla="*/ 29501 w 572724"/>
                <a:gd name="connsiteY10" fmla="*/ 445626 h 608067"/>
                <a:gd name="connsiteX11" fmla="*/ 60592 w 572724"/>
                <a:gd name="connsiteY11" fmla="*/ 496765 h 608067"/>
                <a:gd name="connsiteX12" fmla="*/ 156874 w 572724"/>
                <a:gd name="connsiteY12" fmla="*/ 569964 h 608067"/>
                <a:gd name="connsiteX13" fmla="*/ 257167 w 572724"/>
                <a:gd name="connsiteY13" fmla="*/ 601048 h 608067"/>
                <a:gd name="connsiteX14" fmla="*/ 317343 w 572724"/>
                <a:gd name="connsiteY14" fmla="*/ 608067 h 608067"/>
                <a:gd name="connsiteX15" fmla="*/ 364482 w 572724"/>
                <a:gd name="connsiteY15" fmla="*/ 607064 h 608067"/>
                <a:gd name="connsiteX16" fmla="*/ 385543 w 572724"/>
                <a:gd name="connsiteY16" fmla="*/ 604056 h 608067"/>
                <a:gd name="connsiteX17" fmla="*/ 362476 w 572724"/>
                <a:gd name="connsiteY17" fmla="*/ 606062 h 608067"/>
                <a:gd name="connsiteX18" fmla="*/ 438699 w 572724"/>
                <a:gd name="connsiteY18" fmla="*/ 578988 h 608067"/>
                <a:gd name="connsiteX19" fmla="*/ 422652 w 572724"/>
                <a:gd name="connsiteY19" fmla="*/ 580994 h 608067"/>
                <a:gd name="connsiteX20" fmla="*/ 434687 w 572724"/>
                <a:gd name="connsiteY20" fmla="*/ 576983 h 608067"/>
                <a:gd name="connsiteX21" fmla="*/ 476810 w 572724"/>
                <a:gd name="connsiteY21" fmla="*/ 546901 h 608067"/>
                <a:gd name="connsiteX22" fmla="*/ 490852 w 572724"/>
                <a:gd name="connsiteY22" fmla="*/ 537876 h 608067"/>
                <a:gd name="connsiteX23" fmla="*/ 487843 w 572724"/>
                <a:gd name="connsiteY23" fmla="*/ 538879 h 608067"/>
                <a:gd name="connsiteX24" fmla="*/ 521942 w 572724"/>
                <a:gd name="connsiteY24" fmla="*/ 498770 h 608067"/>
                <a:gd name="connsiteX25" fmla="*/ 543004 w 572724"/>
                <a:gd name="connsiteY25" fmla="*/ 454650 h 608067"/>
                <a:gd name="connsiteX26" fmla="*/ 547016 w 572724"/>
                <a:gd name="connsiteY26" fmla="*/ 446628 h 608067"/>
                <a:gd name="connsiteX27" fmla="*/ 553034 w 572724"/>
                <a:gd name="connsiteY27" fmla="*/ 419555 h 608067"/>
                <a:gd name="connsiteX28" fmla="*/ 559051 w 572724"/>
                <a:gd name="connsiteY28" fmla="*/ 411533 h 608067"/>
                <a:gd name="connsiteX29" fmla="*/ 566072 w 572724"/>
                <a:gd name="connsiteY29" fmla="*/ 352372 h 608067"/>
                <a:gd name="connsiteX30" fmla="*/ 571087 w 572724"/>
                <a:gd name="connsiteY30" fmla="*/ 246083 h 608067"/>
                <a:gd name="connsiteX31" fmla="*/ 528963 w 572724"/>
                <a:gd name="connsiteY31" fmla="*/ 144808 h 608067"/>
                <a:gd name="connsiteX32" fmla="*/ 528963 w 572724"/>
                <a:gd name="connsiteY32" fmla="*/ 146813 h 608067"/>
                <a:gd name="connsiteX33" fmla="*/ 469790 w 572724"/>
                <a:gd name="connsiteY33" fmla="*/ 96677 h 608067"/>
                <a:gd name="connsiteX34" fmla="*/ 437696 w 572724"/>
                <a:gd name="connsiteY34" fmla="*/ 83642 h 608067"/>
                <a:gd name="connsiteX35" fmla="*/ 422652 w 572724"/>
                <a:gd name="connsiteY35" fmla="*/ 80633 h 608067"/>
                <a:gd name="connsiteX36" fmla="*/ 412622 w 572724"/>
                <a:gd name="connsiteY36" fmla="*/ 80633 h 608067"/>
                <a:gd name="connsiteX37" fmla="*/ 397578 w 572724"/>
                <a:gd name="connsiteY37" fmla="*/ 77625 h 608067"/>
                <a:gd name="connsiteX38" fmla="*/ 384540 w 572724"/>
                <a:gd name="connsiteY38" fmla="*/ 76623 h 608067"/>
                <a:gd name="connsiteX39" fmla="*/ 372505 w 572724"/>
                <a:gd name="connsiteY39" fmla="*/ 76623 h 608067"/>
                <a:gd name="connsiteX40" fmla="*/ 357461 w 572724"/>
                <a:gd name="connsiteY40" fmla="*/ 77625 h 608067"/>
                <a:gd name="connsiteX41" fmla="*/ 350440 w 572724"/>
                <a:gd name="connsiteY41" fmla="*/ 80633 h 608067"/>
                <a:gd name="connsiteX42" fmla="*/ 347432 w 572724"/>
                <a:gd name="connsiteY42" fmla="*/ 82639 h 608067"/>
                <a:gd name="connsiteX43" fmla="*/ 374511 w 572724"/>
                <a:gd name="connsiteY43" fmla="*/ 85647 h 608067"/>
                <a:gd name="connsiteX44" fmla="*/ 374511 w 572724"/>
                <a:gd name="connsiteY44" fmla="*/ 84644 h 608067"/>
                <a:gd name="connsiteX45" fmla="*/ 451737 w 572724"/>
                <a:gd name="connsiteY45" fmla="*/ 115729 h 608067"/>
                <a:gd name="connsiteX46" fmla="*/ 507901 w 572724"/>
                <a:gd name="connsiteY46" fmla="*/ 175892 h 608067"/>
                <a:gd name="connsiteX47" fmla="*/ 528963 w 572724"/>
                <a:gd name="connsiteY47" fmla="*/ 228034 h 608067"/>
                <a:gd name="connsiteX48" fmla="*/ 531972 w 572724"/>
                <a:gd name="connsiteY48" fmla="*/ 288198 h 608067"/>
                <a:gd name="connsiteX49" fmla="*/ 524951 w 572724"/>
                <a:gd name="connsiteY49" fmla="*/ 357386 h 608067"/>
                <a:gd name="connsiteX50" fmla="*/ 513919 w 572724"/>
                <a:gd name="connsiteY50" fmla="*/ 420557 h 608067"/>
                <a:gd name="connsiteX51" fmla="*/ 503890 w 572724"/>
                <a:gd name="connsiteY51" fmla="*/ 441615 h 608067"/>
                <a:gd name="connsiteX52" fmla="*/ 477813 w 572724"/>
                <a:gd name="connsiteY52" fmla="*/ 489746 h 608067"/>
                <a:gd name="connsiteX53" fmla="*/ 434687 w 572724"/>
                <a:gd name="connsiteY53" fmla="*/ 527849 h 608067"/>
                <a:gd name="connsiteX54" fmla="*/ 436693 w 572724"/>
                <a:gd name="connsiteY54" fmla="*/ 526846 h 608067"/>
                <a:gd name="connsiteX55" fmla="*/ 385543 w 572724"/>
                <a:gd name="connsiteY55" fmla="*/ 545898 h 608067"/>
                <a:gd name="connsiteX56" fmla="*/ 381531 w 572724"/>
                <a:gd name="connsiteY56" fmla="*/ 547904 h 608067"/>
                <a:gd name="connsiteX57" fmla="*/ 361473 w 572724"/>
                <a:gd name="connsiteY57" fmla="*/ 550912 h 608067"/>
                <a:gd name="connsiteX58" fmla="*/ 320352 w 572724"/>
                <a:gd name="connsiteY58" fmla="*/ 556928 h 608067"/>
                <a:gd name="connsiteX59" fmla="*/ 254159 w 572724"/>
                <a:gd name="connsiteY59" fmla="*/ 553920 h 608067"/>
                <a:gd name="connsiteX60" fmla="*/ 247138 w 572724"/>
                <a:gd name="connsiteY60" fmla="*/ 552917 h 608067"/>
                <a:gd name="connsiteX61" fmla="*/ 184956 w 572724"/>
                <a:gd name="connsiteY61" fmla="*/ 529855 h 608067"/>
                <a:gd name="connsiteX62" fmla="*/ 133806 w 572724"/>
                <a:gd name="connsiteY62" fmla="*/ 500776 h 608067"/>
                <a:gd name="connsiteX63" fmla="*/ 112744 w 572724"/>
                <a:gd name="connsiteY63" fmla="*/ 490748 h 608067"/>
                <a:gd name="connsiteX64" fmla="*/ 100709 w 572724"/>
                <a:gd name="connsiteY64" fmla="*/ 480721 h 608067"/>
                <a:gd name="connsiteX65" fmla="*/ 87671 w 572724"/>
                <a:gd name="connsiteY65" fmla="*/ 464677 h 608067"/>
                <a:gd name="connsiteX66" fmla="*/ 64603 w 572724"/>
                <a:gd name="connsiteY66" fmla="*/ 425571 h 608067"/>
                <a:gd name="connsiteX67" fmla="*/ 56580 w 572724"/>
                <a:gd name="connsiteY67" fmla="*/ 407522 h 608067"/>
                <a:gd name="connsiteX68" fmla="*/ 55577 w 572724"/>
                <a:gd name="connsiteY68" fmla="*/ 395489 h 608067"/>
                <a:gd name="connsiteX69" fmla="*/ 51565 w 572724"/>
                <a:gd name="connsiteY69" fmla="*/ 369418 h 608067"/>
                <a:gd name="connsiteX70" fmla="*/ 47553 w 572724"/>
                <a:gd name="connsiteY70" fmla="*/ 347358 h 608067"/>
                <a:gd name="connsiteX71" fmla="*/ 43542 w 572724"/>
                <a:gd name="connsiteY71" fmla="*/ 325299 h 608067"/>
                <a:gd name="connsiteX72" fmla="*/ 43542 w 572724"/>
                <a:gd name="connsiteY72" fmla="*/ 328307 h 608067"/>
                <a:gd name="connsiteX73" fmla="*/ 48556 w 572724"/>
                <a:gd name="connsiteY73" fmla="*/ 280176 h 608067"/>
                <a:gd name="connsiteX74" fmla="*/ 61595 w 572724"/>
                <a:gd name="connsiteY74" fmla="*/ 205974 h 608067"/>
                <a:gd name="connsiteX75" fmla="*/ 89677 w 572724"/>
                <a:gd name="connsiteY75" fmla="*/ 139794 h 608067"/>
                <a:gd name="connsiteX76" fmla="*/ 82656 w 572724"/>
                <a:gd name="connsiteY76" fmla="*/ 147816 h 608067"/>
                <a:gd name="connsiteX77" fmla="*/ 132803 w 572724"/>
                <a:gd name="connsiteY77" fmla="*/ 87652 h 608067"/>
                <a:gd name="connsiteX78" fmla="*/ 143835 w 572724"/>
                <a:gd name="connsiteY78" fmla="*/ 81636 h 608067"/>
                <a:gd name="connsiteX79" fmla="*/ 151859 w 572724"/>
                <a:gd name="connsiteY79" fmla="*/ 74617 h 608067"/>
                <a:gd name="connsiteX80" fmla="*/ 153865 w 572724"/>
                <a:gd name="connsiteY80" fmla="*/ 75620 h 608067"/>
                <a:gd name="connsiteX81" fmla="*/ 171918 w 572724"/>
                <a:gd name="connsiteY81" fmla="*/ 64590 h 608067"/>
                <a:gd name="connsiteX82" fmla="*/ 176932 w 572724"/>
                <a:gd name="connsiteY82" fmla="*/ 60579 h 608067"/>
                <a:gd name="connsiteX83" fmla="*/ 184956 w 572724"/>
                <a:gd name="connsiteY83" fmla="*/ 58573 h 608067"/>
                <a:gd name="connsiteX84" fmla="*/ 184956 w 572724"/>
                <a:gd name="connsiteY84" fmla="*/ 58573 h 608067"/>
                <a:gd name="connsiteX85" fmla="*/ 189970 w 572724"/>
                <a:gd name="connsiteY85" fmla="*/ 56568 h 608067"/>
                <a:gd name="connsiteX86" fmla="*/ 206018 w 572724"/>
                <a:gd name="connsiteY86" fmla="*/ 45538 h 608067"/>
                <a:gd name="connsiteX87" fmla="*/ 223067 w 572724"/>
                <a:gd name="connsiteY87" fmla="*/ 35511 h 608067"/>
                <a:gd name="connsiteX88" fmla="*/ 225073 w 572724"/>
                <a:gd name="connsiteY88" fmla="*/ 35511 h 608067"/>
                <a:gd name="connsiteX89" fmla="*/ 228082 w 572724"/>
                <a:gd name="connsiteY89" fmla="*/ 32503 h 608067"/>
                <a:gd name="connsiteX90" fmla="*/ 234100 w 572724"/>
                <a:gd name="connsiteY90" fmla="*/ 31500 h 608067"/>
                <a:gd name="connsiteX91" fmla="*/ 233097 w 572724"/>
                <a:gd name="connsiteY91" fmla="*/ 31500 h 608067"/>
                <a:gd name="connsiteX92" fmla="*/ 239114 w 572724"/>
                <a:gd name="connsiteY92" fmla="*/ 30497 h 608067"/>
                <a:gd name="connsiteX93" fmla="*/ 240117 w 572724"/>
                <a:gd name="connsiteY93" fmla="*/ 32503 h 608067"/>
                <a:gd name="connsiteX94" fmla="*/ 250147 w 572724"/>
                <a:gd name="connsiteY94" fmla="*/ 30497 h 608067"/>
                <a:gd name="connsiteX95" fmla="*/ 219056 w 572724"/>
                <a:gd name="connsiteY95" fmla="*/ 31500 h 608067"/>
                <a:gd name="connsiteX96" fmla="*/ 234100 w 572724"/>
                <a:gd name="connsiteY96" fmla="*/ 27489 h 608067"/>
                <a:gd name="connsiteX97" fmla="*/ 245132 w 572724"/>
                <a:gd name="connsiteY97" fmla="*/ 27489 h 608067"/>
                <a:gd name="connsiteX98" fmla="*/ 258170 w 572724"/>
                <a:gd name="connsiteY98" fmla="*/ 27489 h 608067"/>
                <a:gd name="connsiteX99" fmla="*/ 265191 w 572724"/>
                <a:gd name="connsiteY99" fmla="*/ 25483 h 608067"/>
                <a:gd name="connsiteX100" fmla="*/ 273214 w 572724"/>
                <a:gd name="connsiteY100" fmla="*/ 26486 h 608067"/>
                <a:gd name="connsiteX101" fmla="*/ 261179 w 572724"/>
                <a:gd name="connsiteY101" fmla="*/ 27489 h 608067"/>
                <a:gd name="connsiteX102" fmla="*/ 266194 w 572724"/>
                <a:gd name="connsiteY102" fmla="*/ 28492 h 608067"/>
                <a:gd name="connsiteX103" fmla="*/ 273214 w 572724"/>
                <a:gd name="connsiteY103" fmla="*/ 28492 h 608067"/>
                <a:gd name="connsiteX104" fmla="*/ 287255 w 572724"/>
                <a:gd name="connsiteY104" fmla="*/ 28492 h 608067"/>
                <a:gd name="connsiteX105" fmla="*/ 293273 w 572724"/>
                <a:gd name="connsiteY105" fmla="*/ 31500 h 608067"/>
                <a:gd name="connsiteX106" fmla="*/ 297285 w 572724"/>
                <a:gd name="connsiteY106" fmla="*/ 30497 h 608067"/>
                <a:gd name="connsiteX107" fmla="*/ 289261 w 572724"/>
                <a:gd name="connsiteY107" fmla="*/ 25483 h 608067"/>
                <a:gd name="connsiteX108" fmla="*/ 300294 w 572724"/>
                <a:gd name="connsiteY108" fmla="*/ 27489 h 608067"/>
                <a:gd name="connsiteX109" fmla="*/ 300294 w 572724"/>
                <a:gd name="connsiteY109" fmla="*/ 25483 h 608067"/>
                <a:gd name="connsiteX110" fmla="*/ 310323 w 572724"/>
                <a:gd name="connsiteY110" fmla="*/ 27489 h 608067"/>
                <a:gd name="connsiteX111" fmla="*/ 307314 w 572724"/>
                <a:gd name="connsiteY111" fmla="*/ 26486 h 608067"/>
                <a:gd name="connsiteX112" fmla="*/ 296282 w 572724"/>
                <a:gd name="connsiteY112" fmla="*/ 28492 h 608067"/>
                <a:gd name="connsiteX113" fmla="*/ 286252 w 572724"/>
                <a:gd name="connsiteY113" fmla="*/ 30497 h 608067"/>
                <a:gd name="connsiteX114" fmla="*/ 299291 w 572724"/>
                <a:gd name="connsiteY114" fmla="*/ 27489 h 608067"/>
                <a:gd name="connsiteX115" fmla="*/ 311326 w 572724"/>
                <a:gd name="connsiteY115" fmla="*/ 26486 h 608067"/>
                <a:gd name="connsiteX116" fmla="*/ 311326 w 572724"/>
                <a:gd name="connsiteY116" fmla="*/ 23478 h 608067"/>
                <a:gd name="connsiteX117" fmla="*/ 307314 w 572724"/>
                <a:gd name="connsiteY117" fmla="*/ 24481 h 608067"/>
                <a:gd name="connsiteX118" fmla="*/ 303302 w 572724"/>
                <a:gd name="connsiteY118" fmla="*/ 20470 h 608067"/>
                <a:gd name="connsiteX119" fmla="*/ 296282 w 572724"/>
                <a:gd name="connsiteY119" fmla="*/ 23478 h 608067"/>
                <a:gd name="connsiteX120" fmla="*/ 288258 w 572724"/>
                <a:gd name="connsiteY120" fmla="*/ 25483 h 608067"/>
                <a:gd name="connsiteX121" fmla="*/ 286252 w 572724"/>
                <a:gd name="connsiteY121" fmla="*/ 24481 h 608067"/>
                <a:gd name="connsiteX122" fmla="*/ 298288 w 572724"/>
                <a:gd name="connsiteY122" fmla="*/ 25483 h 608067"/>
                <a:gd name="connsiteX123" fmla="*/ 305308 w 572724"/>
                <a:gd name="connsiteY123" fmla="*/ 24481 h 608067"/>
                <a:gd name="connsiteX124" fmla="*/ 306311 w 572724"/>
                <a:gd name="connsiteY124" fmla="*/ 24481 h 608067"/>
                <a:gd name="connsiteX125" fmla="*/ 312329 w 572724"/>
                <a:gd name="connsiteY125" fmla="*/ 23478 h 608067"/>
                <a:gd name="connsiteX126" fmla="*/ 310323 w 572724"/>
                <a:gd name="connsiteY126" fmla="*/ 16459 h 608067"/>
                <a:gd name="connsiteX127" fmla="*/ 309320 w 572724"/>
                <a:gd name="connsiteY127" fmla="*/ 9440 h 608067"/>
                <a:gd name="connsiteX128" fmla="*/ 298288 w 572724"/>
                <a:gd name="connsiteY128" fmla="*/ 10443 h 608067"/>
                <a:gd name="connsiteX129" fmla="*/ 288258 w 572724"/>
                <a:gd name="connsiteY129" fmla="*/ 6432 h 608067"/>
                <a:gd name="connsiteX130" fmla="*/ 284247 w 572724"/>
                <a:gd name="connsiteY130" fmla="*/ 7434 h 608067"/>
                <a:gd name="connsiteX131" fmla="*/ 277226 w 572724"/>
                <a:gd name="connsiteY131" fmla="*/ 4426 h 608067"/>
                <a:gd name="connsiteX132" fmla="*/ 266194 w 572724"/>
                <a:gd name="connsiteY132" fmla="*/ 4426 h 608067"/>
                <a:gd name="connsiteX133" fmla="*/ 263185 w 572724"/>
                <a:gd name="connsiteY133" fmla="*/ 6432 h 608067"/>
                <a:gd name="connsiteX134" fmla="*/ 243126 w 572724"/>
                <a:gd name="connsiteY134" fmla="*/ 7434 h 608067"/>
                <a:gd name="connsiteX135" fmla="*/ 239114 w 572724"/>
                <a:gd name="connsiteY135" fmla="*/ 2421 h 608067"/>
                <a:gd name="connsiteX136" fmla="*/ 246135 w 572724"/>
                <a:gd name="connsiteY136" fmla="*/ 4426 h 608067"/>
                <a:gd name="connsiteX137" fmla="*/ 256164 w 572724"/>
                <a:gd name="connsiteY137" fmla="*/ 415 h 608067"/>
                <a:gd name="connsiteX138" fmla="*/ 241120 w 572724"/>
                <a:gd name="connsiteY138" fmla="*/ 1418 h 608067"/>
                <a:gd name="connsiteX139" fmla="*/ 242123 w 572724"/>
                <a:gd name="connsiteY139" fmla="*/ 1418 h 608067"/>
                <a:gd name="connsiteX140" fmla="*/ 222064 w 572724"/>
                <a:gd name="connsiteY140" fmla="*/ 4426 h 608067"/>
                <a:gd name="connsiteX141" fmla="*/ 224070 w 572724"/>
                <a:gd name="connsiteY141" fmla="*/ 1418 h 608067"/>
                <a:gd name="connsiteX142" fmla="*/ 217050 w 572724"/>
                <a:gd name="connsiteY142" fmla="*/ 2421 h 608067"/>
                <a:gd name="connsiteX143" fmla="*/ 217050 w 572724"/>
                <a:gd name="connsiteY143" fmla="*/ 3424 h 608067"/>
                <a:gd name="connsiteX144" fmla="*/ 208023 w 572724"/>
                <a:gd name="connsiteY144" fmla="*/ 5429 h 608067"/>
                <a:gd name="connsiteX145" fmla="*/ 191976 w 572724"/>
                <a:gd name="connsiteY145" fmla="*/ 13451 h 608067"/>
                <a:gd name="connsiteX146" fmla="*/ 177935 w 572724"/>
                <a:gd name="connsiteY146" fmla="*/ 22475 h 608067"/>
                <a:gd name="connsiteX147" fmla="*/ 167906 w 572724"/>
                <a:gd name="connsiteY147" fmla="*/ 26486 h 608067"/>
                <a:gd name="connsiteX148" fmla="*/ 173924 w 572724"/>
                <a:gd name="connsiteY148" fmla="*/ 23478 h 608067"/>
                <a:gd name="connsiteX149" fmla="*/ 186962 w 572724"/>
                <a:gd name="connsiteY149" fmla="*/ 15456 h 608067"/>
                <a:gd name="connsiteX150" fmla="*/ 200000 w 572724"/>
                <a:gd name="connsiteY150" fmla="*/ 8437 h 608067"/>
                <a:gd name="connsiteX151" fmla="*/ 203009 w 572724"/>
                <a:gd name="connsiteY151" fmla="*/ 6432 h 608067"/>
                <a:gd name="connsiteX152" fmla="*/ 192979 w 572724"/>
                <a:gd name="connsiteY152" fmla="*/ 10443 h 608067"/>
                <a:gd name="connsiteX153" fmla="*/ 175929 w 572724"/>
                <a:gd name="connsiteY153" fmla="*/ 19467 h 608067"/>
                <a:gd name="connsiteX154" fmla="*/ 159882 w 572724"/>
                <a:gd name="connsiteY154" fmla="*/ 29494 h 608067"/>
                <a:gd name="connsiteX155" fmla="*/ 151859 w 572724"/>
                <a:gd name="connsiteY155" fmla="*/ 34508 h 608067"/>
                <a:gd name="connsiteX156" fmla="*/ 146844 w 572724"/>
                <a:gd name="connsiteY156" fmla="*/ 39522 h 608067"/>
                <a:gd name="connsiteX157" fmla="*/ 142832 w 572724"/>
                <a:gd name="connsiteY157" fmla="*/ 38519 h 608067"/>
                <a:gd name="connsiteX158" fmla="*/ 141829 w 572724"/>
                <a:gd name="connsiteY158" fmla="*/ 39522 h 608067"/>
                <a:gd name="connsiteX159" fmla="*/ 137818 w 572724"/>
                <a:gd name="connsiteY159" fmla="*/ 40524 h 608067"/>
                <a:gd name="connsiteX160" fmla="*/ 124780 w 572724"/>
                <a:gd name="connsiteY160" fmla="*/ 50552 h 608067"/>
                <a:gd name="connsiteX161" fmla="*/ 112744 w 572724"/>
                <a:gd name="connsiteY161" fmla="*/ 62584 h 608067"/>
                <a:gd name="connsiteX162" fmla="*/ 118762 w 572724"/>
                <a:gd name="connsiteY162" fmla="*/ 50552 h 608067"/>
                <a:gd name="connsiteX163" fmla="*/ 119765 w 572724"/>
                <a:gd name="connsiteY163" fmla="*/ 50552 h 608067"/>
                <a:gd name="connsiteX164" fmla="*/ 122774 w 572724"/>
                <a:gd name="connsiteY164" fmla="*/ 45538 h 608067"/>
                <a:gd name="connsiteX165" fmla="*/ 109736 w 572724"/>
                <a:gd name="connsiteY165" fmla="*/ 57571 h 608067"/>
                <a:gd name="connsiteX166" fmla="*/ 106727 w 572724"/>
                <a:gd name="connsiteY166" fmla="*/ 59576 h 608067"/>
                <a:gd name="connsiteX167" fmla="*/ 106727 w 572724"/>
                <a:gd name="connsiteY167" fmla="*/ 59576 h 608067"/>
                <a:gd name="connsiteX168" fmla="*/ 104721 w 572724"/>
                <a:gd name="connsiteY168" fmla="*/ 59576 h 608067"/>
                <a:gd name="connsiteX169" fmla="*/ 104721 w 572724"/>
                <a:gd name="connsiteY169" fmla="*/ 58573 h 608067"/>
                <a:gd name="connsiteX170" fmla="*/ 93689 w 572724"/>
                <a:gd name="connsiteY170" fmla="*/ 68601 h 608067"/>
                <a:gd name="connsiteX171" fmla="*/ 80650 w 572724"/>
                <a:gd name="connsiteY171" fmla="*/ 84644 h 608067"/>
                <a:gd name="connsiteX172" fmla="*/ 78645 w 572724"/>
                <a:gd name="connsiteY172" fmla="*/ 88655 h 608067"/>
                <a:gd name="connsiteX173" fmla="*/ 58586 w 572724"/>
                <a:gd name="connsiteY173" fmla="*/ 112721 h 608067"/>
                <a:gd name="connsiteX174" fmla="*/ 61595 w 572724"/>
                <a:gd name="connsiteY174" fmla="*/ 113723 h 608067"/>
                <a:gd name="connsiteX175" fmla="*/ 56580 w 572724"/>
                <a:gd name="connsiteY175" fmla="*/ 121745 h 608067"/>
                <a:gd name="connsiteX176" fmla="*/ 51565 w 572724"/>
                <a:gd name="connsiteY176" fmla="*/ 123751 h 608067"/>
                <a:gd name="connsiteX177" fmla="*/ 46550 w 572724"/>
                <a:gd name="connsiteY177" fmla="*/ 124753 h 608067"/>
                <a:gd name="connsiteX178" fmla="*/ 40533 w 572724"/>
                <a:gd name="connsiteY178" fmla="*/ 136786 h 608067"/>
                <a:gd name="connsiteX179" fmla="*/ 39530 w 572724"/>
                <a:gd name="connsiteY179" fmla="*/ 144808 h 608067"/>
                <a:gd name="connsiteX180" fmla="*/ 31506 w 572724"/>
                <a:gd name="connsiteY180" fmla="*/ 156841 h 608067"/>
                <a:gd name="connsiteX181" fmla="*/ 29501 w 572724"/>
                <a:gd name="connsiteY181" fmla="*/ 154835 h 608067"/>
                <a:gd name="connsiteX182" fmla="*/ 19471 w 572724"/>
                <a:gd name="connsiteY182" fmla="*/ 173887 h 608067"/>
                <a:gd name="connsiteX183" fmla="*/ 16462 w 572724"/>
                <a:gd name="connsiteY183" fmla="*/ 194944 h 608067"/>
                <a:gd name="connsiteX184" fmla="*/ 17465 w 572724"/>
                <a:gd name="connsiteY184" fmla="*/ 206977 h 608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</a:cxnLst>
              <a:rect l="l" t="t" r="r" b="b"/>
              <a:pathLst>
                <a:path w="572724" h="608067">
                  <a:moveTo>
                    <a:pt x="17465" y="206977"/>
                  </a:moveTo>
                  <a:lnTo>
                    <a:pt x="15460" y="213996"/>
                  </a:lnTo>
                  <a:cubicBezTo>
                    <a:pt x="20474" y="189931"/>
                    <a:pt x="29501" y="165865"/>
                    <a:pt x="40533" y="142802"/>
                  </a:cubicBezTo>
                  <a:cubicBezTo>
                    <a:pt x="25489" y="165865"/>
                    <a:pt x="12451" y="194944"/>
                    <a:pt x="6433" y="223021"/>
                  </a:cubicBezTo>
                  <a:cubicBezTo>
                    <a:pt x="415" y="251097"/>
                    <a:pt x="1418" y="279173"/>
                    <a:pt x="8439" y="300230"/>
                  </a:cubicBezTo>
                  <a:cubicBezTo>
                    <a:pt x="4427" y="302236"/>
                    <a:pt x="1418" y="317277"/>
                    <a:pt x="415" y="331315"/>
                  </a:cubicBezTo>
                  <a:cubicBezTo>
                    <a:pt x="-588" y="345353"/>
                    <a:pt x="415" y="359391"/>
                    <a:pt x="1418" y="359391"/>
                  </a:cubicBezTo>
                  <a:cubicBezTo>
                    <a:pt x="4427" y="370421"/>
                    <a:pt x="7436" y="381451"/>
                    <a:pt x="10445" y="392481"/>
                  </a:cubicBezTo>
                  <a:cubicBezTo>
                    <a:pt x="8439" y="384459"/>
                    <a:pt x="6433" y="377440"/>
                    <a:pt x="4427" y="369418"/>
                  </a:cubicBezTo>
                  <a:cubicBezTo>
                    <a:pt x="6433" y="376438"/>
                    <a:pt x="8439" y="384459"/>
                    <a:pt x="10445" y="392481"/>
                  </a:cubicBezTo>
                  <a:cubicBezTo>
                    <a:pt x="15460" y="409528"/>
                    <a:pt x="21477" y="427577"/>
                    <a:pt x="29501" y="445626"/>
                  </a:cubicBezTo>
                  <a:cubicBezTo>
                    <a:pt x="37524" y="463675"/>
                    <a:pt x="47553" y="480721"/>
                    <a:pt x="60592" y="496765"/>
                  </a:cubicBezTo>
                  <a:cubicBezTo>
                    <a:pt x="86668" y="527849"/>
                    <a:pt x="120768" y="551915"/>
                    <a:pt x="156874" y="569964"/>
                  </a:cubicBezTo>
                  <a:cubicBezTo>
                    <a:pt x="176932" y="579991"/>
                    <a:pt x="216047" y="594029"/>
                    <a:pt x="257167" y="601048"/>
                  </a:cubicBezTo>
                  <a:cubicBezTo>
                    <a:pt x="278229" y="605059"/>
                    <a:pt x="299291" y="607064"/>
                    <a:pt x="317343" y="608067"/>
                  </a:cubicBezTo>
                  <a:cubicBezTo>
                    <a:pt x="336399" y="608067"/>
                    <a:pt x="353449" y="608067"/>
                    <a:pt x="364482" y="607064"/>
                  </a:cubicBezTo>
                  <a:cubicBezTo>
                    <a:pt x="371502" y="606062"/>
                    <a:pt x="378523" y="606062"/>
                    <a:pt x="385543" y="604056"/>
                  </a:cubicBezTo>
                  <a:cubicBezTo>
                    <a:pt x="373508" y="606062"/>
                    <a:pt x="373508" y="605059"/>
                    <a:pt x="362476" y="606062"/>
                  </a:cubicBezTo>
                  <a:cubicBezTo>
                    <a:pt x="390558" y="600045"/>
                    <a:pt x="415631" y="591021"/>
                    <a:pt x="438699" y="578988"/>
                  </a:cubicBezTo>
                  <a:cubicBezTo>
                    <a:pt x="433684" y="579991"/>
                    <a:pt x="432681" y="578988"/>
                    <a:pt x="422652" y="580994"/>
                  </a:cubicBezTo>
                  <a:cubicBezTo>
                    <a:pt x="426664" y="579991"/>
                    <a:pt x="430675" y="578988"/>
                    <a:pt x="434687" y="576983"/>
                  </a:cubicBezTo>
                  <a:cubicBezTo>
                    <a:pt x="444717" y="569964"/>
                    <a:pt x="467784" y="555925"/>
                    <a:pt x="476810" y="546901"/>
                  </a:cubicBezTo>
                  <a:cubicBezTo>
                    <a:pt x="475808" y="549909"/>
                    <a:pt x="483831" y="543893"/>
                    <a:pt x="490852" y="537876"/>
                  </a:cubicBezTo>
                  <a:lnTo>
                    <a:pt x="487843" y="538879"/>
                  </a:lnTo>
                  <a:cubicBezTo>
                    <a:pt x="500881" y="527849"/>
                    <a:pt x="512916" y="513811"/>
                    <a:pt x="521942" y="498770"/>
                  </a:cubicBezTo>
                  <a:cubicBezTo>
                    <a:pt x="530969" y="483729"/>
                    <a:pt x="537990" y="467686"/>
                    <a:pt x="543004" y="454650"/>
                  </a:cubicBezTo>
                  <a:cubicBezTo>
                    <a:pt x="544007" y="450639"/>
                    <a:pt x="546013" y="448634"/>
                    <a:pt x="547016" y="446628"/>
                  </a:cubicBezTo>
                  <a:cubicBezTo>
                    <a:pt x="549022" y="437604"/>
                    <a:pt x="552031" y="428579"/>
                    <a:pt x="553034" y="419555"/>
                  </a:cubicBezTo>
                  <a:cubicBezTo>
                    <a:pt x="555040" y="422563"/>
                    <a:pt x="560054" y="397495"/>
                    <a:pt x="559051" y="411533"/>
                  </a:cubicBezTo>
                  <a:cubicBezTo>
                    <a:pt x="561057" y="390476"/>
                    <a:pt x="566072" y="371424"/>
                    <a:pt x="566072" y="352372"/>
                  </a:cubicBezTo>
                  <a:cubicBezTo>
                    <a:pt x="571087" y="319282"/>
                    <a:pt x="575098" y="283184"/>
                    <a:pt x="571087" y="246083"/>
                  </a:cubicBezTo>
                  <a:cubicBezTo>
                    <a:pt x="567075" y="208982"/>
                    <a:pt x="552031" y="171881"/>
                    <a:pt x="528963" y="144808"/>
                  </a:cubicBezTo>
                  <a:lnTo>
                    <a:pt x="528963" y="146813"/>
                  </a:lnTo>
                  <a:cubicBezTo>
                    <a:pt x="512916" y="127762"/>
                    <a:pt x="493860" y="114726"/>
                    <a:pt x="469790" y="96677"/>
                  </a:cubicBezTo>
                  <a:cubicBezTo>
                    <a:pt x="459761" y="91663"/>
                    <a:pt x="447725" y="86650"/>
                    <a:pt x="437696" y="83642"/>
                  </a:cubicBezTo>
                  <a:cubicBezTo>
                    <a:pt x="432681" y="81636"/>
                    <a:pt x="427666" y="80633"/>
                    <a:pt x="422652" y="80633"/>
                  </a:cubicBezTo>
                  <a:cubicBezTo>
                    <a:pt x="418640" y="80633"/>
                    <a:pt x="414628" y="79631"/>
                    <a:pt x="412622" y="80633"/>
                  </a:cubicBezTo>
                  <a:cubicBezTo>
                    <a:pt x="406605" y="79631"/>
                    <a:pt x="401590" y="78628"/>
                    <a:pt x="397578" y="77625"/>
                  </a:cubicBezTo>
                  <a:cubicBezTo>
                    <a:pt x="392564" y="77625"/>
                    <a:pt x="388552" y="76623"/>
                    <a:pt x="384540" y="76623"/>
                  </a:cubicBezTo>
                  <a:cubicBezTo>
                    <a:pt x="380528" y="76623"/>
                    <a:pt x="376517" y="76623"/>
                    <a:pt x="372505" y="76623"/>
                  </a:cubicBezTo>
                  <a:cubicBezTo>
                    <a:pt x="368493" y="76623"/>
                    <a:pt x="363479" y="76623"/>
                    <a:pt x="357461" y="77625"/>
                  </a:cubicBezTo>
                  <a:cubicBezTo>
                    <a:pt x="360470" y="78628"/>
                    <a:pt x="355455" y="79631"/>
                    <a:pt x="350440" y="80633"/>
                  </a:cubicBezTo>
                  <a:cubicBezTo>
                    <a:pt x="346429" y="81636"/>
                    <a:pt x="341414" y="82639"/>
                    <a:pt x="347432" y="82639"/>
                  </a:cubicBezTo>
                  <a:cubicBezTo>
                    <a:pt x="361473" y="85647"/>
                    <a:pt x="362476" y="82639"/>
                    <a:pt x="374511" y="85647"/>
                  </a:cubicBezTo>
                  <a:lnTo>
                    <a:pt x="374511" y="84644"/>
                  </a:lnTo>
                  <a:cubicBezTo>
                    <a:pt x="402593" y="88655"/>
                    <a:pt x="428669" y="99685"/>
                    <a:pt x="451737" y="115729"/>
                  </a:cubicBezTo>
                  <a:cubicBezTo>
                    <a:pt x="474805" y="131772"/>
                    <a:pt x="494863" y="151827"/>
                    <a:pt x="507901" y="175892"/>
                  </a:cubicBezTo>
                  <a:cubicBezTo>
                    <a:pt x="518934" y="190933"/>
                    <a:pt x="525954" y="208982"/>
                    <a:pt x="528963" y="228034"/>
                  </a:cubicBezTo>
                  <a:cubicBezTo>
                    <a:pt x="532975" y="247086"/>
                    <a:pt x="532975" y="268143"/>
                    <a:pt x="531972" y="288198"/>
                  </a:cubicBezTo>
                  <a:cubicBezTo>
                    <a:pt x="530969" y="310258"/>
                    <a:pt x="527960" y="334323"/>
                    <a:pt x="524951" y="357386"/>
                  </a:cubicBezTo>
                  <a:cubicBezTo>
                    <a:pt x="521942" y="380448"/>
                    <a:pt x="518934" y="402508"/>
                    <a:pt x="513919" y="420557"/>
                  </a:cubicBezTo>
                  <a:cubicBezTo>
                    <a:pt x="511913" y="429582"/>
                    <a:pt x="507901" y="434596"/>
                    <a:pt x="503890" y="441615"/>
                  </a:cubicBezTo>
                  <a:cubicBezTo>
                    <a:pt x="497872" y="457658"/>
                    <a:pt x="489849" y="474705"/>
                    <a:pt x="477813" y="489746"/>
                  </a:cubicBezTo>
                  <a:cubicBezTo>
                    <a:pt x="465778" y="504786"/>
                    <a:pt x="450734" y="517822"/>
                    <a:pt x="434687" y="527849"/>
                  </a:cubicBezTo>
                  <a:cubicBezTo>
                    <a:pt x="435690" y="527849"/>
                    <a:pt x="435690" y="526846"/>
                    <a:pt x="436693" y="526846"/>
                  </a:cubicBezTo>
                  <a:cubicBezTo>
                    <a:pt x="419643" y="536874"/>
                    <a:pt x="404599" y="540885"/>
                    <a:pt x="385543" y="545898"/>
                  </a:cubicBezTo>
                  <a:cubicBezTo>
                    <a:pt x="385543" y="546901"/>
                    <a:pt x="382534" y="547904"/>
                    <a:pt x="381531" y="547904"/>
                  </a:cubicBezTo>
                  <a:cubicBezTo>
                    <a:pt x="380528" y="546901"/>
                    <a:pt x="372505" y="548906"/>
                    <a:pt x="361473" y="550912"/>
                  </a:cubicBezTo>
                  <a:cubicBezTo>
                    <a:pt x="350440" y="552917"/>
                    <a:pt x="335396" y="554923"/>
                    <a:pt x="320352" y="556928"/>
                  </a:cubicBezTo>
                  <a:cubicBezTo>
                    <a:pt x="289261" y="558934"/>
                    <a:pt x="257167" y="555925"/>
                    <a:pt x="254159" y="553920"/>
                  </a:cubicBezTo>
                  <a:cubicBezTo>
                    <a:pt x="252153" y="553920"/>
                    <a:pt x="250147" y="552917"/>
                    <a:pt x="247138" y="552917"/>
                  </a:cubicBezTo>
                  <a:cubicBezTo>
                    <a:pt x="226076" y="547904"/>
                    <a:pt x="204012" y="539882"/>
                    <a:pt x="184956" y="529855"/>
                  </a:cubicBezTo>
                  <a:cubicBezTo>
                    <a:pt x="165900" y="520830"/>
                    <a:pt x="148850" y="509800"/>
                    <a:pt x="133806" y="500776"/>
                  </a:cubicBezTo>
                  <a:cubicBezTo>
                    <a:pt x="126785" y="497767"/>
                    <a:pt x="118762" y="493756"/>
                    <a:pt x="112744" y="490748"/>
                  </a:cubicBezTo>
                  <a:cubicBezTo>
                    <a:pt x="108733" y="485735"/>
                    <a:pt x="105724" y="486737"/>
                    <a:pt x="100709" y="480721"/>
                  </a:cubicBezTo>
                  <a:cubicBezTo>
                    <a:pt x="91683" y="462672"/>
                    <a:pt x="84662" y="454650"/>
                    <a:pt x="87671" y="464677"/>
                  </a:cubicBezTo>
                  <a:cubicBezTo>
                    <a:pt x="76639" y="452645"/>
                    <a:pt x="69618" y="438607"/>
                    <a:pt x="64603" y="425571"/>
                  </a:cubicBezTo>
                  <a:cubicBezTo>
                    <a:pt x="61595" y="419555"/>
                    <a:pt x="58586" y="413538"/>
                    <a:pt x="56580" y="407522"/>
                  </a:cubicBezTo>
                  <a:cubicBezTo>
                    <a:pt x="54574" y="402508"/>
                    <a:pt x="54574" y="398498"/>
                    <a:pt x="55577" y="395489"/>
                  </a:cubicBezTo>
                  <a:cubicBezTo>
                    <a:pt x="51565" y="381451"/>
                    <a:pt x="53571" y="385462"/>
                    <a:pt x="51565" y="369418"/>
                  </a:cubicBezTo>
                  <a:cubicBezTo>
                    <a:pt x="52568" y="367413"/>
                    <a:pt x="49559" y="357386"/>
                    <a:pt x="47553" y="347358"/>
                  </a:cubicBezTo>
                  <a:cubicBezTo>
                    <a:pt x="45548" y="337331"/>
                    <a:pt x="43542" y="327304"/>
                    <a:pt x="43542" y="325299"/>
                  </a:cubicBezTo>
                  <a:lnTo>
                    <a:pt x="43542" y="328307"/>
                  </a:lnTo>
                  <a:cubicBezTo>
                    <a:pt x="42539" y="309255"/>
                    <a:pt x="47553" y="297222"/>
                    <a:pt x="48556" y="280176"/>
                  </a:cubicBezTo>
                  <a:cubicBezTo>
                    <a:pt x="50562" y="255108"/>
                    <a:pt x="54574" y="230040"/>
                    <a:pt x="61595" y="205974"/>
                  </a:cubicBezTo>
                  <a:cubicBezTo>
                    <a:pt x="67612" y="181909"/>
                    <a:pt x="77642" y="158846"/>
                    <a:pt x="89677" y="139794"/>
                  </a:cubicBezTo>
                  <a:cubicBezTo>
                    <a:pt x="87671" y="137789"/>
                    <a:pt x="85665" y="148819"/>
                    <a:pt x="82656" y="147816"/>
                  </a:cubicBezTo>
                  <a:cubicBezTo>
                    <a:pt x="95694" y="123751"/>
                    <a:pt x="113747" y="104699"/>
                    <a:pt x="132803" y="87652"/>
                  </a:cubicBezTo>
                  <a:cubicBezTo>
                    <a:pt x="136815" y="84644"/>
                    <a:pt x="141829" y="82639"/>
                    <a:pt x="143835" y="81636"/>
                  </a:cubicBezTo>
                  <a:cubicBezTo>
                    <a:pt x="150856" y="76623"/>
                    <a:pt x="146844" y="77625"/>
                    <a:pt x="151859" y="74617"/>
                  </a:cubicBezTo>
                  <a:lnTo>
                    <a:pt x="153865" y="75620"/>
                  </a:lnTo>
                  <a:cubicBezTo>
                    <a:pt x="159882" y="68601"/>
                    <a:pt x="165900" y="70606"/>
                    <a:pt x="171918" y="64590"/>
                  </a:cubicBezTo>
                  <a:cubicBezTo>
                    <a:pt x="171918" y="63587"/>
                    <a:pt x="173924" y="61582"/>
                    <a:pt x="176932" y="60579"/>
                  </a:cubicBezTo>
                  <a:cubicBezTo>
                    <a:pt x="177935" y="62584"/>
                    <a:pt x="184956" y="55565"/>
                    <a:pt x="184956" y="58573"/>
                  </a:cubicBezTo>
                  <a:lnTo>
                    <a:pt x="184956" y="58573"/>
                  </a:lnTo>
                  <a:cubicBezTo>
                    <a:pt x="186962" y="57571"/>
                    <a:pt x="187965" y="57571"/>
                    <a:pt x="189970" y="56568"/>
                  </a:cubicBezTo>
                  <a:cubicBezTo>
                    <a:pt x="190973" y="55565"/>
                    <a:pt x="197994" y="49549"/>
                    <a:pt x="206018" y="45538"/>
                  </a:cubicBezTo>
                  <a:cubicBezTo>
                    <a:pt x="213038" y="40524"/>
                    <a:pt x="221062" y="36513"/>
                    <a:pt x="223067" y="35511"/>
                  </a:cubicBezTo>
                  <a:lnTo>
                    <a:pt x="225073" y="35511"/>
                  </a:lnTo>
                  <a:cubicBezTo>
                    <a:pt x="230088" y="34508"/>
                    <a:pt x="231091" y="32503"/>
                    <a:pt x="228082" y="32503"/>
                  </a:cubicBezTo>
                  <a:lnTo>
                    <a:pt x="234100" y="31500"/>
                  </a:lnTo>
                  <a:lnTo>
                    <a:pt x="233097" y="31500"/>
                  </a:lnTo>
                  <a:lnTo>
                    <a:pt x="239114" y="30497"/>
                  </a:lnTo>
                  <a:cubicBezTo>
                    <a:pt x="240117" y="30497"/>
                    <a:pt x="241120" y="31500"/>
                    <a:pt x="240117" y="32503"/>
                  </a:cubicBezTo>
                  <a:cubicBezTo>
                    <a:pt x="243126" y="31500"/>
                    <a:pt x="247138" y="30497"/>
                    <a:pt x="250147" y="30497"/>
                  </a:cubicBezTo>
                  <a:cubicBezTo>
                    <a:pt x="241120" y="30497"/>
                    <a:pt x="229085" y="30497"/>
                    <a:pt x="219056" y="31500"/>
                  </a:cubicBezTo>
                  <a:cubicBezTo>
                    <a:pt x="223067" y="29494"/>
                    <a:pt x="230088" y="29494"/>
                    <a:pt x="234100" y="27489"/>
                  </a:cubicBezTo>
                  <a:cubicBezTo>
                    <a:pt x="237108" y="27489"/>
                    <a:pt x="241120" y="27489"/>
                    <a:pt x="245132" y="27489"/>
                  </a:cubicBezTo>
                  <a:cubicBezTo>
                    <a:pt x="249144" y="27489"/>
                    <a:pt x="254159" y="27489"/>
                    <a:pt x="258170" y="27489"/>
                  </a:cubicBezTo>
                  <a:cubicBezTo>
                    <a:pt x="260176" y="27489"/>
                    <a:pt x="261179" y="24481"/>
                    <a:pt x="265191" y="25483"/>
                  </a:cubicBezTo>
                  <a:cubicBezTo>
                    <a:pt x="267197" y="27489"/>
                    <a:pt x="270205" y="25483"/>
                    <a:pt x="273214" y="26486"/>
                  </a:cubicBezTo>
                  <a:cubicBezTo>
                    <a:pt x="269203" y="27489"/>
                    <a:pt x="265191" y="27489"/>
                    <a:pt x="261179" y="27489"/>
                  </a:cubicBezTo>
                  <a:cubicBezTo>
                    <a:pt x="261179" y="28492"/>
                    <a:pt x="264188" y="28492"/>
                    <a:pt x="266194" y="28492"/>
                  </a:cubicBezTo>
                  <a:cubicBezTo>
                    <a:pt x="269203" y="28492"/>
                    <a:pt x="272211" y="28492"/>
                    <a:pt x="273214" y="28492"/>
                  </a:cubicBezTo>
                  <a:cubicBezTo>
                    <a:pt x="274217" y="27489"/>
                    <a:pt x="282241" y="28492"/>
                    <a:pt x="287255" y="28492"/>
                  </a:cubicBezTo>
                  <a:cubicBezTo>
                    <a:pt x="285249" y="30497"/>
                    <a:pt x="291267" y="30497"/>
                    <a:pt x="293273" y="31500"/>
                  </a:cubicBezTo>
                  <a:cubicBezTo>
                    <a:pt x="296282" y="31500"/>
                    <a:pt x="298288" y="31500"/>
                    <a:pt x="297285" y="30497"/>
                  </a:cubicBezTo>
                  <a:cubicBezTo>
                    <a:pt x="298288" y="28492"/>
                    <a:pt x="285249" y="27489"/>
                    <a:pt x="289261" y="25483"/>
                  </a:cubicBezTo>
                  <a:cubicBezTo>
                    <a:pt x="290264" y="26486"/>
                    <a:pt x="296282" y="26486"/>
                    <a:pt x="300294" y="27489"/>
                  </a:cubicBezTo>
                  <a:cubicBezTo>
                    <a:pt x="300294" y="26486"/>
                    <a:pt x="298288" y="26486"/>
                    <a:pt x="300294" y="25483"/>
                  </a:cubicBezTo>
                  <a:cubicBezTo>
                    <a:pt x="304305" y="26486"/>
                    <a:pt x="308317" y="25483"/>
                    <a:pt x="310323" y="27489"/>
                  </a:cubicBezTo>
                  <a:cubicBezTo>
                    <a:pt x="309320" y="27489"/>
                    <a:pt x="308317" y="27489"/>
                    <a:pt x="307314" y="26486"/>
                  </a:cubicBezTo>
                  <a:cubicBezTo>
                    <a:pt x="309320" y="27489"/>
                    <a:pt x="302299" y="27489"/>
                    <a:pt x="296282" y="28492"/>
                  </a:cubicBezTo>
                  <a:cubicBezTo>
                    <a:pt x="289261" y="29494"/>
                    <a:pt x="283244" y="31500"/>
                    <a:pt x="286252" y="30497"/>
                  </a:cubicBezTo>
                  <a:cubicBezTo>
                    <a:pt x="285249" y="30497"/>
                    <a:pt x="292270" y="28492"/>
                    <a:pt x="299291" y="27489"/>
                  </a:cubicBezTo>
                  <a:cubicBezTo>
                    <a:pt x="306311" y="27489"/>
                    <a:pt x="313332" y="26486"/>
                    <a:pt x="311326" y="26486"/>
                  </a:cubicBezTo>
                  <a:cubicBezTo>
                    <a:pt x="308317" y="25483"/>
                    <a:pt x="314335" y="24481"/>
                    <a:pt x="311326" y="23478"/>
                  </a:cubicBezTo>
                  <a:lnTo>
                    <a:pt x="307314" y="24481"/>
                  </a:lnTo>
                  <a:cubicBezTo>
                    <a:pt x="303302" y="23478"/>
                    <a:pt x="302299" y="20470"/>
                    <a:pt x="303302" y="20470"/>
                  </a:cubicBezTo>
                  <a:cubicBezTo>
                    <a:pt x="307314" y="21473"/>
                    <a:pt x="301297" y="22475"/>
                    <a:pt x="296282" y="23478"/>
                  </a:cubicBezTo>
                  <a:cubicBezTo>
                    <a:pt x="291267" y="24481"/>
                    <a:pt x="285249" y="26486"/>
                    <a:pt x="288258" y="25483"/>
                  </a:cubicBezTo>
                  <a:lnTo>
                    <a:pt x="286252" y="24481"/>
                  </a:lnTo>
                  <a:cubicBezTo>
                    <a:pt x="289261" y="24481"/>
                    <a:pt x="296282" y="23478"/>
                    <a:pt x="298288" y="25483"/>
                  </a:cubicBezTo>
                  <a:cubicBezTo>
                    <a:pt x="298288" y="24481"/>
                    <a:pt x="302299" y="24481"/>
                    <a:pt x="305308" y="24481"/>
                  </a:cubicBezTo>
                  <a:lnTo>
                    <a:pt x="306311" y="24481"/>
                  </a:lnTo>
                  <a:cubicBezTo>
                    <a:pt x="309320" y="24481"/>
                    <a:pt x="313332" y="25483"/>
                    <a:pt x="312329" y="23478"/>
                  </a:cubicBezTo>
                  <a:cubicBezTo>
                    <a:pt x="303302" y="22475"/>
                    <a:pt x="307314" y="19467"/>
                    <a:pt x="310323" y="16459"/>
                  </a:cubicBezTo>
                  <a:cubicBezTo>
                    <a:pt x="314335" y="13451"/>
                    <a:pt x="318346" y="11445"/>
                    <a:pt x="309320" y="9440"/>
                  </a:cubicBezTo>
                  <a:cubicBezTo>
                    <a:pt x="316341" y="13451"/>
                    <a:pt x="306311" y="11445"/>
                    <a:pt x="298288" y="10443"/>
                  </a:cubicBezTo>
                  <a:cubicBezTo>
                    <a:pt x="297285" y="9440"/>
                    <a:pt x="294276" y="7434"/>
                    <a:pt x="288258" y="6432"/>
                  </a:cubicBezTo>
                  <a:cubicBezTo>
                    <a:pt x="283244" y="6432"/>
                    <a:pt x="285249" y="7434"/>
                    <a:pt x="284247" y="7434"/>
                  </a:cubicBezTo>
                  <a:cubicBezTo>
                    <a:pt x="281238" y="6432"/>
                    <a:pt x="276223" y="6432"/>
                    <a:pt x="277226" y="4426"/>
                  </a:cubicBezTo>
                  <a:cubicBezTo>
                    <a:pt x="273214" y="6432"/>
                    <a:pt x="271208" y="3424"/>
                    <a:pt x="266194" y="4426"/>
                  </a:cubicBezTo>
                  <a:cubicBezTo>
                    <a:pt x="262182" y="5429"/>
                    <a:pt x="266194" y="5429"/>
                    <a:pt x="263185" y="6432"/>
                  </a:cubicBezTo>
                  <a:cubicBezTo>
                    <a:pt x="257167" y="6432"/>
                    <a:pt x="248141" y="7434"/>
                    <a:pt x="243126" y="7434"/>
                  </a:cubicBezTo>
                  <a:cubicBezTo>
                    <a:pt x="241120" y="6432"/>
                    <a:pt x="235103" y="5429"/>
                    <a:pt x="239114" y="2421"/>
                  </a:cubicBezTo>
                  <a:cubicBezTo>
                    <a:pt x="249144" y="1418"/>
                    <a:pt x="236106" y="6432"/>
                    <a:pt x="246135" y="4426"/>
                  </a:cubicBezTo>
                  <a:cubicBezTo>
                    <a:pt x="241120" y="2421"/>
                    <a:pt x="255161" y="2421"/>
                    <a:pt x="256164" y="415"/>
                  </a:cubicBezTo>
                  <a:cubicBezTo>
                    <a:pt x="253156" y="-587"/>
                    <a:pt x="246135" y="415"/>
                    <a:pt x="241120" y="1418"/>
                  </a:cubicBezTo>
                  <a:lnTo>
                    <a:pt x="242123" y="1418"/>
                  </a:lnTo>
                  <a:cubicBezTo>
                    <a:pt x="237108" y="2421"/>
                    <a:pt x="228082" y="5429"/>
                    <a:pt x="222064" y="4426"/>
                  </a:cubicBezTo>
                  <a:cubicBezTo>
                    <a:pt x="223067" y="3424"/>
                    <a:pt x="221062" y="2421"/>
                    <a:pt x="224070" y="1418"/>
                  </a:cubicBezTo>
                  <a:lnTo>
                    <a:pt x="217050" y="2421"/>
                  </a:lnTo>
                  <a:cubicBezTo>
                    <a:pt x="216047" y="3424"/>
                    <a:pt x="215044" y="3424"/>
                    <a:pt x="217050" y="3424"/>
                  </a:cubicBezTo>
                  <a:cubicBezTo>
                    <a:pt x="214041" y="5429"/>
                    <a:pt x="211032" y="5429"/>
                    <a:pt x="208023" y="5429"/>
                  </a:cubicBezTo>
                  <a:cubicBezTo>
                    <a:pt x="207020" y="5429"/>
                    <a:pt x="198997" y="8437"/>
                    <a:pt x="191976" y="13451"/>
                  </a:cubicBezTo>
                  <a:cubicBezTo>
                    <a:pt x="183953" y="17462"/>
                    <a:pt x="176932" y="22475"/>
                    <a:pt x="177935" y="22475"/>
                  </a:cubicBezTo>
                  <a:cubicBezTo>
                    <a:pt x="173924" y="24481"/>
                    <a:pt x="171918" y="23478"/>
                    <a:pt x="167906" y="26486"/>
                  </a:cubicBezTo>
                  <a:cubicBezTo>
                    <a:pt x="167906" y="26486"/>
                    <a:pt x="169912" y="25483"/>
                    <a:pt x="173924" y="23478"/>
                  </a:cubicBezTo>
                  <a:cubicBezTo>
                    <a:pt x="177935" y="21473"/>
                    <a:pt x="181947" y="18464"/>
                    <a:pt x="186962" y="15456"/>
                  </a:cubicBezTo>
                  <a:cubicBezTo>
                    <a:pt x="191976" y="13451"/>
                    <a:pt x="195988" y="10443"/>
                    <a:pt x="200000" y="8437"/>
                  </a:cubicBezTo>
                  <a:cubicBezTo>
                    <a:pt x="203009" y="7434"/>
                    <a:pt x="205015" y="6432"/>
                    <a:pt x="203009" y="6432"/>
                  </a:cubicBezTo>
                  <a:cubicBezTo>
                    <a:pt x="202006" y="6432"/>
                    <a:pt x="197994" y="7434"/>
                    <a:pt x="192979" y="10443"/>
                  </a:cubicBezTo>
                  <a:cubicBezTo>
                    <a:pt x="187965" y="12448"/>
                    <a:pt x="181947" y="16459"/>
                    <a:pt x="175929" y="19467"/>
                  </a:cubicBezTo>
                  <a:cubicBezTo>
                    <a:pt x="169912" y="22475"/>
                    <a:pt x="164897" y="26486"/>
                    <a:pt x="159882" y="29494"/>
                  </a:cubicBezTo>
                  <a:cubicBezTo>
                    <a:pt x="155871" y="32503"/>
                    <a:pt x="152862" y="34508"/>
                    <a:pt x="151859" y="34508"/>
                  </a:cubicBezTo>
                  <a:cubicBezTo>
                    <a:pt x="148850" y="36513"/>
                    <a:pt x="145841" y="39522"/>
                    <a:pt x="146844" y="39522"/>
                  </a:cubicBezTo>
                  <a:cubicBezTo>
                    <a:pt x="141829" y="42530"/>
                    <a:pt x="146844" y="36513"/>
                    <a:pt x="142832" y="38519"/>
                  </a:cubicBezTo>
                  <a:cubicBezTo>
                    <a:pt x="142832" y="38519"/>
                    <a:pt x="143835" y="38519"/>
                    <a:pt x="141829" y="39522"/>
                  </a:cubicBezTo>
                  <a:cubicBezTo>
                    <a:pt x="140827" y="39522"/>
                    <a:pt x="138821" y="40524"/>
                    <a:pt x="137818" y="40524"/>
                  </a:cubicBezTo>
                  <a:cubicBezTo>
                    <a:pt x="134809" y="44535"/>
                    <a:pt x="129794" y="47543"/>
                    <a:pt x="124780" y="50552"/>
                  </a:cubicBezTo>
                  <a:cubicBezTo>
                    <a:pt x="120768" y="54563"/>
                    <a:pt x="115753" y="58573"/>
                    <a:pt x="112744" y="62584"/>
                  </a:cubicBezTo>
                  <a:cubicBezTo>
                    <a:pt x="113747" y="59576"/>
                    <a:pt x="114750" y="55565"/>
                    <a:pt x="118762" y="50552"/>
                  </a:cubicBezTo>
                  <a:lnTo>
                    <a:pt x="119765" y="50552"/>
                  </a:lnTo>
                  <a:cubicBezTo>
                    <a:pt x="119765" y="49549"/>
                    <a:pt x="123777" y="45538"/>
                    <a:pt x="122774" y="45538"/>
                  </a:cubicBezTo>
                  <a:cubicBezTo>
                    <a:pt x="117759" y="48546"/>
                    <a:pt x="113747" y="52557"/>
                    <a:pt x="109736" y="57571"/>
                  </a:cubicBezTo>
                  <a:cubicBezTo>
                    <a:pt x="108733" y="58573"/>
                    <a:pt x="107730" y="58573"/>
                    <a:pt x="106727" y="59576"/>
                  </a:cubicBezTo>
                  <a:cubicBezTo>
                    <a:pt x="106727" y="59576"/>
                    <a:pt x="106727" y="59576"/>
                    <a:pt x="106727" y="59576"/>
                  </a:cubicBezTo>
                  <a:cubicBezTo>
                    <a:pt x="104721" y="60579"/>
                    <a:pt x="104721" y="60579"/>
                    <a:pt x="104721" y="59576"/>
                  </a:cubicBezTo>
                  <a:cubicBezTo>
                    <a:pt x="104721" y="59576"/>
                    <a:pt x="104721" y="59576"/>
                    <a:pt x="104721" y="58573"/>
                  </a:cubicBezTo>
                  <a:cubicBezTo>
                    <a:pt x="101712" y="58573"/>
                    <a:pt x="98703" y="63587"/>
                    <a:pt x="93689" y="68601"/>
                  </a:cubicBezTo>
                  <a:cubicBezTo>
                    <a:pt x="89677" y="74617"/>
                    <a:pt x="84662" y="80633"/>
                    <a:pt x="80650" y="84644"/>
                  </a:cubicBezTo>
                  <a:cubicBezTo>
                    <a:pt x="78645" y="87652"/>
                    <a:pt x="80650" y="85647"/>
                    <a:pt x="78645" y="88655"/>
                  </a:cubicBezTo>
                  <a:cubicBezTo>
                    <a:pt x="70621" y="96677"/>
                    <a:pt x="65606" y="102693"/>
                    <a:pt x="58586" y="112721"/>
                  </a:cubicBezTo>
                  <a:cubicBezTo>
                    <a:pt x="57583" y="116732"/>
                    <a:pt x="58586" y="117734"/>
                    <a:pt x="61595" y="113723"/>
                  </a:cubicBezTo>
                  <a:lnTo>
                    <a:pt x="56580" y="121745"/>
                  </a:lnTo>
                  <a:cubicBezTo>
                    <a:pt x="56580" y="117734"/>
                    <a:pt x="53571" y="120742"/>
                    <a:pt x="51565" y="123751"/>
                  </a:cubicBezTo>
                  <a:cubicBezTo>
                    <a:pt x="48556" y="126759"/>
                    <a:pt x="46550" y="129767"/>
                    <a:pt x="46550" y="124753"/>
                  </a:cubicBezTo>
                  <a:cubicBezTo>
                    <a:pt x="44545" y="126759"/>
                    <a:pt x="41536" y="131772"/>
                    <a:pt x="40533" y="136786"/>
                  </a:cubicBezTo>
                  <a:cubicBezTo>
                    <a:pt x="41536" y="137789"/>
                    <a:pt x="42539" y="138792"/>
                    <a:pt x="39530" y="144808"/>
                  </a:cubicBezTo>
                  <a:cubicBezTo>
                    <a:pt x="34515" y="152830"/>
                    <a:pt x="35518" y="150824"/>
                    <a:pt x="31506" y="156841"/>
                  </a:cubicBezTo>
                  <a:cubicBezTo>
                    <a:pt x="29501" y="157843"/>
                    <a:pt x="30504" y="154835"/>
                    <a:pt x="29501" y="154835"/>
                  </a:cubicBezTo>
                  <a:cubicBezTo>
                    <a:pt x="27495" y="165865"/>
                    <a:pt x="23483" y="162857"/>
                    <a:pt x="19471" y="173887"/>
                  </a:cubicBezTo>
                  <a:cubicBezTo>
                    <a:pt x="17465" y="180906"/>
                    <a:pt x="14457" y="193941"/>
                    <a:pt x="16462" y="194944"/>
                  </a:cubicBezTo>
                  <a:cubicBezTo>
                    <a:pt x="20474" y="208982"/>
                    <a:pt x="18468" y="208982"/>
                    <a:pt x="17465" y="206977"/>
                  </a:cubicBezTo>
                  <a:close/>
                </a:path>
              </a:pathLst>
            </a:custGeom>
            <a:solidFill>
              <a:srgbClr val="154573"/>
            </a:solidFill>
            <a:ln w="100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 sz="1800"/>
            </a:p>
          </p:txBody>
        </p:sp>
      </p:grpSp>
      <p:grpSp>
        <p:nvGrpSpPr>
          <p:cNvPr id="24" name="Gruppe 23">
            <a:extLst>
              <a:ext uri="{FF2B5EF4-FFF2-40B4-BE49-F238E27FC236}">
                <a16:creationId xmlns:a16="http://schemas.microsoft.com/office/drawing/2014/main" id="{E6FEDFEE-F7B0-4148-A7EE-36285E92E9DE}"/>
              </a:ext>
            </a:extLst>
          </p:cNvPr>
          <p:cNvGrpSpPr/>
          <p:nvPr userDrawn="1"/>
        </p:nvGrpSpPr>
        <p:grpSpPr>
          <a:xfrm>
            <a:off x="1308673" y="3833454"/>
            <a:ext cx="627481" cy="870110"/>
            <a:chOff x="2960374" y="4076697"/>
            <a:chExt cx="627481" cy="870110"/>
          </a:xfrm>
        </p:grpSpPr>
        <p:sp>
          <p:nvSpPr>
            <p:cNvPr id="14" name="Tekstfelt 13">
              <a:extLst>
                <a:ext uri="{FF2B5EF4-FFF2-40B4-BE49-F238E27FC236}">
                  <a16:creationId xmlns:a16="http://schemas.microsoft.com/office/drawing/2014/main" id="{127A65BA-C169-D54B-B96E-F56314E0BB16}"/>
                </a:ext>
              </a:extLst>
            </p:cNvPr>
            <p:cNvSpPr txBox="1"/>
            <p:nvPr/>
          </p:nvSpPr>
          <p:spPr>
            <a:xfrm>
              <a:off x="3074573" y="4076697"/>
              <a:ext cx="513282" cy="87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da-DK" sz="5054" spc="0" baseline="0">
                  <a:solidFill>
                    <a:srgbClr val="154573"/>
                  </a:solidFill>
                  <a:latin typeface="Manus"/>
                  <a:sym typeface="Manus"/>
                  <a:rtl val="0"/>
                </a:rPr>
                <a:t>3</a:t>
              </a:r>
            </a:p>
          </p:txBody>
        </p:sp>
        <p:sp>
          <p:nvSpPr>
            <p:cNvPr id="20" name="Kombinationstegning 19">
              <a:extLst>
                <a:ext uri="{FF2B5EF4-FFF2-40B4-BE49-F238E27FC236}">
                  <a16:creationId xmlns:a16="http://schemas.microsoft.com/office/drawing/2014/main" id="{6EB7399E-C2DB-DD4F-B1F2-9C7FFD133BBE}"/>
                </a:ext>
              </a:extLst>
            </p:cNvPr>
            <p:cNvSpPr/>
            <p:nvPr/>
          </p:nvSpPr>
          <p:spPr>
            <a:xfrm>
              <a:off x="2960374" y="4178700"/>
              <a:ext cx="572724" cy="608067"/>
            </a:xfrm>
            <a:custGeom>
              <a:avLst/>
              <a:gdLst>
                <a:gd name="connsiteX0" fmla="*/ 17465 w 572724"/>
                <a:gd name="connsiteY0" fmla="*/ 206977 h 608067"/>
                <a:gd name="connsiteX1" fmla="*/ 15459 w 572724"/>
                <a:gd name="connsiteY1" fmla="*/ 213996 h 608067"/>
                <a:gd name="connsiteX2" fmla="*/ 40533 w 572724"/>
                <a:gd name="connsiteY2" fmla="*/ 142802 h 608067"/>
                <a:gd name="connsiteX3" fmla="*/ 6433 w 572724"/>
                <a:gd name="connsiteY3" fmla="*/ 223021 h 608067"/>
                <a:gd name="connsiteX4" fmla="*/ 8439 w 572724"/>
                <a:gd name="connsiteY4" fmla="*/ 300230 h 608067"/>
                <a:gd name="connsiteX5" fmla="*/ 415 w 572724"/>
                <a:gd name="connsiteY5" fmla="*/ 331315 h 608067"/>
                <a:gd name="connsiteX6" fmla="*/ 1418 w 572724"/>
                <a:gd name="connsiteY6" fmla="*/ 359391 h 608067"/>
                <a:gd name="connsiteX7" fmla="*/ 10445 w 572724"/>
                <a:gd name="connsiteY7" fmla="*/ 392481 h 608067"/>
                <a:gd name="connsiteX8" fmla="*/ 4427 w 572724"/>
                <a:gd name="connsiteY8" fmla="*/ 369418 h 608067"/>
                <a:gd name="connsiteX9" fmla="*/ 10445 w 572724"/>
                <a:gd name="connsiteY9" fmla="*/ 392481 h 608067"/>
                <a:gd name="connsiteX10" fmla="*/ 29501 w 572724"/>
                <a:gd name="connsiteY10" fmla="*/ 445626 h 608067"/>
                <a:gd name="connsiteX11" fmla="*/ 60592 w 572724"/>
                <a:gd name="connsiteY11" fmla="*/ 496765 h 608067"/>
                <a:gd name="connsiteX12" fmla="*/ 156874 w 572724"/>
                <a:gd name="connsiteY12" fmla="*/ 569964 h 608067"/>
                <a:gd name="connsiteX13" fmla="*/ 257167 w 572724"/>
                <a:gd name="connsiteY13" fmla="*/ 601048 h 608067"/>
                <a:gd name="connsiteX14" fmla="*/ 317343 w 572724"/>
                <a:gd name="connsiteY14" fmla="*/ 608067 h 608067"/>
                <a:gd name="connsiteX15" fmla="*/ 364482 w 572724"/>
                <a:gd name="connsiteY15" fmla="*/ 607064 h 608067"/>
                <a:gd name="connsiteX16" fmla="*/ 385543 w 572724"/>
                <a:gd name="connsiteY16" fmla="*/ 604056 h 608067"/>
                <a:gd name="connsiteX17" fmla="*/ 362476 w 572724"/>
                <a:gd name="connsiteY17" fmla="*/ 606062 h 608067"/>
                <a:gd name="connsiteX18" fmla="*/ 438699 w 572724"/>
                <a:gd name="connsiteY18" fmla="*/ 578988 h 608067"/>
                <a:gd name="connsiteX19" fmla="*/ 422652 w 572724"/>
                <a:gd name="connsiteY19" fmla="*/ 580994 h 608067"/>
                <a:gd name="connsiteX20" fmla="*/ 434687 w 572724"/>
                <a:gd name="connsiteY20" fmla="*/ 576983 h 608067"/>
                <a:gd name="connsiteX21" fmla="*/ 476810 w 572724"/>
                <a:gd name="connsiteY21" fmla="*/ 546901 h 608067"/>
                <a:gd name="connsiteX22" fmla="*/ 490852 w 572724"/>
                <a:gd name="connsiteY22" fmla="*/ 537876 h 608067"/>
                <a:gd name="connsiteX23" fmla="*/ 487843 w 572724"/>
                <a:gd name="connsiteY23" fmla="*/ 538879 h 608067"/>
                <a:gd name="connsiteX24" fmla="*/ 521942 w 572724"/>
                <a:gd name="connsiteY24" fmla="*/ 498770 h 608067"/>
                <a:gd name="connsiteX25" fmla="*/ 543004 w 572724"/>
                <a:gd name="connsiteY25" fmla="*/ 454650 h 608067"/>
                <a:gd name="connsiteX26" fmla="*/ 547016 w 572724"/>
                <a:gd name="connsiteY26" fmla="*/ 446628 h 608067"/>
                <a:gd name="connsiteX27" fmla="*/ 553034 w 572724"/>
                <a:gd name="connsiteY27" fmla="*/ 419555 h 608067"/>
                <a:gd name="connsiteX28" fmla="*/ 559051 w 572724"/>
                <a:gd name="connsiteY28" fmla="*/ 411533 h 608067"/>
                <a:gd name="connsiteX29" fmla="*/ 566072 w 572724"/>
                <a:gd name="connsiteY29" fmla="*/ 352372 h 608067"/>
                <a:gd name="connsiteX30" fmla="*/ 571087 w 572724"/>
                <a:gd name="connsiteY30" fmla="*/ 246083 h 608067"/>
                <a:gd name="connsiteX31" fmla="*/ 528963 w 572724"/>
                <a:gd name="connsiteY31" fmla="*/ 144808 h 608067"/>
                <a:gd name="connsiteX32" fmla="*/ 528963 w 572724"/>
                <a:gd name="connsiteY32" fmla="*/ 146813 h 608067"/>
                <a:gd name="connsiteX33" fmla="*/ 469790 w 572724"/>
                <a:gd name="connsiteY33" fmla="*/ 96677 h 608067"/>
                <a:gd name="connsiteX34" fmla="*/ 437696 w 572724"/>
                <a:gd name="connsiteY34" fmla="*/ 83642 h 608067"/>
                <a:gd name="connsiteX35" fmla="*/ 422652 w 572724"/>
                <a:gd name="connsiteY35" fmla="*/ 80633 h 608067"/>
                <a:gd name="connsiteX36" fmla="*/ 412622 w 572724"/>
                <a:gd name="connsiteY36" fmla="*/ 80633 h 608067"/>
                <a:gd name="connsiteX37" fmla="*/ 397578 w 572724"/>
                <a:gd name="connsiteY37" fmla="*/ 77625 h 608067"/>
                <a:gd name="connsiteX38" fmla="*/ 384540 w 572724"/>
                <a:gd name="connsiteY38" fmla="*/ 76623 h 608067"/>
                <a:gd name="connsiteX39" fmla="*/ 372505 w 572724"/>
                <a:gd name="connsiteY39" fmla="*/ 76623 h 608067"/>
                <a:gd name="connsiteX40" fmla="*/ 357461 w 572724"/>
                <a:gd name="connsiteY40" fmla="*/ 77625 h 608067"/>
                <a:gd name="connsiteX41" fmla="*/ 350441 w 572724"/>
                <a:gd name="connsiteY41" fmla="*/ 80633 h 608067"/>
                <a:gd name="connsiteX42" fmla="*/ 347432 w 572724"/>
                <a:gd name="connsiteY42" fmla="*/ 82639 h 608067"/>
                <a:gd name="connsiteX43" fmla="*/ 374511 w 572724"/>
                <a:gd name="connsiteY43" fmla="*/ 85647 h 608067"/>
                <a:gd name="connsiteX44" fmla="*/ 374511 w 572724"/>
                <a:gd name="connsiteY44" fmla="*/ 84644 h 608067"/>
                <a:gd name="connsiteX45" fmla="*/ 451737 w 572724"/>
                <a:gd name="connsiteY45" fmla="*/ 115729 h 608067"/>
                <a:gd name="connsiteX46" fmla="*/ 507901 w 572724"/>
                <a:gd name="connsiteY46" fmla="*/ 175892 h 608067"/>
                <a:gd name="connsiteX47" fmla="*/ 528963 w 572724"/>
                <a:gd name="connsiteY47" fmla="*/ 228034 h 608067"/>
                <a:gd name="connsiteX48" fmla="*/ 531972 w 572724"/>
                <a:gd name="connsiteY48" fmla="*/ 288198 h 608067"/>
                <a:gd name="connsiteX49" fmla="*/ 524951 w 572724"/>
                <a:gd name="connsiteY49" fmla="*/ 357386 h 608067"/>
                <a:gd name="connsiteX50" fmla="*/ 513919 w 572724"/>
                <a:gd name="connsiteY50" fmla="*/ 420557 h 608067"/>
                <a:gd name="connsiteX51" fmla="*/ 503890 w 572724"/>
                <a:gd name="connsiteY51" fmla="*/ 441615 h 608067"/>
                <a:gd name="connsiteX52" fmla="*/ 477813 w 572724"/>
                <a:gd name="connsiteY52" fmla="*/ 489746 h 608067"/>
                <a:gd name="connsiteX53" fmla="*/ 434687 w 572724"/>
                <a:gd name="connsiteY53" fmla="*/ 527849 h 608067"/>
                <a:gd name="connsiteX54" fmla="*/ 436693 w 572724"/>
                <a:gd name="connsiteY54" fmla="*/ 526846 h 608067"/>
                <a:gd name="connsiteX55" fmla="*/ 385543 w 572724"/>
                <a:gd name="connsiteY55" fmla="*/ 545898 h 608067"/>
                <a:gd name="connsiteX56" fmla="*/ 381531 w 572724"/>
                <a:gd name="connsiteY56" fmla="*/ 547904 h 608067"/>
                <a:gd name="connsiteX57" fmla="*/ 361473 w 572724"/>
                <a:gd name="connsiteY57" fmla="*/ 550912 h 608067"/>
                <a:gd name="connsiteX58" fmla="*/ 320352 w 572724"/>
                <a:gd name="connsiteY58" fmla="*/ 556928 h 608067"/>
                <a:gd name="connsiteX59" fmla="*/ 254159 w 572724"/>
                <a:gd name="connsiteY59" fmla="*/ 553920 h 608067"/>
                <a:gd name="connsiteX60" fmla="*/ 247138 w 572724"/>
                <a:gd name="connsiteY60" fmla="*/ 552917 h 608067"/>
                <a:gd name="connsiteX61" fmla="*/ 184956 w 572724"/>
                <a:gd name="connsiteY61" fmla="*/ 529855 h 608067"/>
                <a:gd name="connsiteX62" fmla="*/ 133806 w 572724"/>
                <a:gd name="connsiteY62" fmla="*/ 500776 h 608067"/>
                <a:gd name="connsiteX63" fmla="*/ 112744 w 572724"/>
                <a:gd name="connsiteY63" fmla="*/ 490748 h 608067"/>
                <a:gd name="connsiteX64" fmla="*/ 100709 w 572724"/>
                <a:gd name="connsiteY64" fmla="*/ 480721 h 608067"/>
                <a:gd name="connsiteX65" fmla="*/ 87671 w 572724"/>
                <a:gd name="connsiteY65" fmla="*/ 464677 h 608067"/>
                <a:gd name="connsiteX66" fmla="*/ 64604 w 572724"/>
                <a:gd name="connsiteY66" fmla="*/ 425571 h 608067"/>
                <a:gd name="connsiteX67" fmla="*/ 56580 w 572724"/>
                <a:gd name="connsiteY67" fmla="*/ 407522 h 608067"/>
                <a:gd name="connsiteX68" fmla="*/ 55577 w 572724"/>
                <a:gd name="connsiteY68" fmla="*/ 395489 h 608067"/>
                <a:gd name="connsiteX69" fmla="*/ 51565 w 572724"/>
                <a:gd name="connsiteY69" fmla="*/ 369418 h 608067"/>
                <a:gd name="connsiteX70" fmla="*/ 47553 w 572724"/>
                <a:gd name="connsiteY70" fmla="*/ 347358 h 608067"/>
                <a:gd name="connsiteX71" fmla="*/ 43542 w 572724"/>
                <a:gd name="connsiteY71" fmla="*/ 325299 h 608067"/>
                <a:gd name="connsiteX72" fmla="*/ 43542 w 572724"/>
                <a:gd name="connsiteY72" fmla="*/ 328307 h 608067"/>
                <a:gd name="connsiteX73" fmla="*/ 48556 w 572724"/>
                <a:gd name="connsiteY73" fmla="*/ 280176 h 608067"/>
                <a:gd name="connsiteX74" fmla="*/ 61595 w 572724"/>
                <a:gd name="connsiteY74" fmla="*/ 205974 h 608067"/>
                <a:gd name="connsiteX75" fmla="*/ 89677 w 572724"/>
                <a:gd name="connsiteY75" fmla="*/ 139794 h 608067"/>
                <a:gd name="connsiteX76" fmla="*/ 82656 w 572724"/>
                <a:gd name="connsiteY76" fmla="*/ 147816 h 608067"/>
                <a:gd name="connsiteX77" fmla="*/ 132803 w 572724"/>
                <a:gd name="connsiteY77" fmla="*/ 87652 h 608067"/>
                <a:gd name="connsiteX78" fmla="*/ 143835 w 572724"/>
                <a:gd name="connsiteY78" fmla="*/ 81636 h 608067"/>
                <a:gd name="connsiteX79" fmla="*/ 151859 w 572724"/>
                <a:gd name="connsiteY79" fmla="*/ 74617 h 608067"/>
                <a:gd name="connsiteX80" fmla="*/ 153865 w 572724"/>
                <a:gd name="connsiteY80" fmla="*/ 75620 h 608067"/>
                <a:gd name="connsiteX81" fmla="*/ 171918 w 572724"/>
                <a:gd name="connsiteY81" fmla="*/ 64590 h 608067"/>
                <a:gd name="connsiteX82" fmla="*/ 176932 w 572724"/>
                <a:gd name="connsiteY82" fmla="*/ 60579 h 608067"/>
                <a:gd name="connsiteX83" fmla="*/ 184956 w 572724"/>
                <a:gd name="connsiteY83" fmla="*/ 58573 h 608067"/>
                <a:gd name="connsiteX84" fmla="*/ 184956 w 572724"/>
                <a:gd name="connsiteY84" fmla="*/ 58573 h 608067"/>
                <a:gd name="connsiteX85" fmla="*/ 189971 w 572724"/>
                <a:gd name="connsiteY85" fmla="*/ 56568 h 608067"/>
                <a:gd name="connsiteX86" fmla="*/ 206017 w 572724"/>
                <a:gd name="connsiteY86" fmla="*/ 45538 h 608067"/>
                <a:gd name="connsiteX87" fmla="*/ 223067 w 572724"/>
                <a:gd name="connsiteY87" fmla="*/ 35511 h 608067"/>
                <a:gd name="connsiteX88" fmla="*/ 225073 w 572724"/>
                <a:gd name="connsiteY88" fmla="*/ 35511 h 608067"/>
                <a:gd name="connsiteX89" fmla="*/ 228082 w 572724"/>
                <a:gd name="connsiteY89" fmla="*/ 32503 h 608067"/>
                <a:gd name="connsiteX90" fmla="*/ 234100 w 572724"/>
                <a:gd name="connsiteY90" fmla="*/ 31500 h 608067"/>
                <a:gd name="connsiteX91" fmla="*/ 233097 w 572724"/>
                <a:gd name="connsiteY91" fmla="*/ 31500 h 608067"/>
                <a:gd name="connsiteX92" fmla="*/ 239114 w 572724"/>
                <a:gd name="connsiteY92" fmla="*/ 30497 h 608067"/>
                <a:gd name="connsiteX93" fmla="*/ 240117 w 572724"/>
                <a:gd name="connsiteY93" fmla="*/ 32503 h 608067"/>
                <a:gd name="connsiteX94" fmla="*/ 250147 w 572724"/>
                <a:gd name="connsiteY94" fmla="*/ 30497 h 608067"/>
                <a:gd name="connsiteX95" fmla="*/ 219056 w 572724"/>
                <a:gd name="connsiteY95" fmla="*/ 31500 h 608067"/>
                <a:gd name="connsiteX96" fmla="*/ 234100 w 572724"/>
                <a:gd name="connsiteY96" fmla="*/ 27489 h 608067"/>
                <a:gd name="connsiteX97" fmla="*/ 245132 w 572724"/>
                <a:gd name="connsiteY97" fmla="*/ 27489 h 608067"/>
                <a:gd name="connsiteX98" fmla="*/ 258170 w 572724"/>
                <a:gd name="connsiteY98" fmla="*/ 27489 h 608067"/>
                <a:gd name="connsiteX99" fmla="*/ 265191 w 572724"/>
                <a:gd name="connsiteY99" fmla="*/ 25483 h 608067"/>
                <a:gd name="connsiteX100" fmla="*/ 273214 w 572724"/>
                <a:gd name="connsiteY100" fmla="*/ 26486 h 608067"/>
                <a:gd name="connsiteX101" fmla="*/ 261179 w 572724"/>
                <a:gd name="connsiteY101" fmla="*/ 27489 h 608067"/>
                <a:gd name="connsiteX102" fmla="*/ 266194 w 572724"/>
                <a:gd name="connsiteY102" fmla="*/ 28492 h 608067"/>
                <a:gd name="connsiteX103" fmla="*/ 273214 w 572724"/>
                <a:gd name="connsiteY103" fmla="*/ 28492 h 608067"/>
                <a:gd name="connsiteX104" fmla="*/ 287255 w 572724"/>
                <a:gd name="connsiteY104" fmla="*/ 28492 h 608067"/>
                <a:gd name="connsiteX105" fmla="*/ 293273 w 572724"/>
                <a:gd name="connsiteY105" fmla="*/ 31500 h 608067"/>
                <a:gd name="connsiteX106" fmla="*/ 297285 w 572724"/>
                <a:gd name="connsiteY106" fmla="*/ 30497 h 608067"/>
                <a:gd name="connsiteX107" fmla="*/ 289261 w 572724"/>
                <a:gd name="connsiteY107" fmla="*/ 25483 h 608067"/>
                <a:gd name="connsiteX108" fmla="*/ 300294 w 572724"/>
                <a:gd name="connsiteY108" fmla="*/ 27489 h 608067"/>
                <a:gd name="connsiteX109" fmla="*/ 300294 w 572724"/>
                <a:gd name="connsiteY109" fmla="*/ 25483 h 608067"/>
                <a:gd name="connsiteX110" fmla="*/ 310323 w 572724"/>
                <a:gd name="connsiteY110" fmla="*/ 27489 h 608067"/>
                <a:gd name="connsiteX111" fmla="*/ 307314 w 572724"/>
                <a:gd name="connsiteY111" fmla="*/ 26486 h 608067"/>
                <a:gd name="connsiteX112" fmla="*/ 296282 w 572724"/>
                <a:gd name="connsiteY112" fmla="*/ 28492 h 608067"/>
                <a:gd name="connsiteX113" fmla="*/ 286252 w 572724"/>
                <a:gd name="connsiteY113" fmla="*/ 30497 h 608067"/>
                <a:gd name="connsiteX114" fmla="*/ 299291 w 572724"/>
                <a:gd name="connsiteY114" fmla="*/ 27489 h 608067"/>
                <a:gd name="connsiteX115" fmla="*/ 311326 w 572724"/>
                <a:gd name="connsiteY115" fmla="*/ 26486 h 608067"/>
                <a:gd name="connsiteX116" fmla="*/ 311326 w 572724"/>
                <a:gd name="connsiteY116" fmla="*/ 23478 h 608067"/>
                <a:gd name="connsiteX117" fmla="*/ 307314 w 572724"/>
                <a:gd name="connsiteY117" fmla="*/ 24481 h 608067"/>
                <a:gd name="connsiteX118" fmla="*/ 303302 w 572724"/>
                <a:gd name="connsiteY118" fmla="*/ 20470 h 608067"/>
                <a:gd name="connsiteX119" fmla="*/ 296282 w 572724"/>
                <a:gd name="connsiteY119" fmla="*/ 23478 h 608067"/>
                <a:gd name="connsiteX120" fmla="*/ 288258 w 572724"/>
                <a:gd name="connsiteY120" fmla="*/ 25483 h 608067"/>
                <a:gd name="connsiteX121" fmla="*/ 286252 w 572724"/>
                <a:gd name="connsiteY121" fmla="*/ 24481 h 608067"/>
                <a:gd name="connsiteX122" fmla="*/ 298288 w 572724"/>
                <a:gd name="connsiteY122" fmla="*/ 25483 h 608067"/>
                <a:gd name="connsiteX123" fmla="*/ 305308 w 572724"/>
                <a:gd name="connsiteY123" fmla="*/ 24481 h 608067"/>
                <a:gd name="connsiteX124" fmla="*/ 306311 w 572724"/>
                <a:gd name="connsiteY124" fmla="*/ 24481 h 608067"/>
                <a:gd name="connsiteX125" fmla="*/ 312329 w 572724"/>
                <a:gd name="connsiteY125" fmla="*/ 23478 h 608067"/>
                <a:gd name="connsiteX126" fmla="*/ 310323 w 572724"/>
                <a:gd name="connsiteY126" fmla="*/ 16459 h 608067"/>
                <a:gd name="connsiteX127" fmla="*/ 309320 w 572724"/>
                <a:gd name="connsiteY127" fmla="*/ 9440 h 608067"/>
                <a:gd name="connsiteX128" fmla="*/ 298288 w 572724"/>
                <a:gd name="connsiteY128" fmla="*/ 10443 h 608067"/>
                <a:gd name="connsiteX129" fmla="*/ 288258 w 572724"/>
                <a:gd name="connsiteY129" fmla="*/ 6432 h 608067"/>
                <a:gd name="connsiteX130" fmla="*/ 284247 w 572724"/>
                <a:gd name="connsiteY130" fmla="*/ 7434 h 608067"/>
                <a:gd name="connsiteX131" fmla="*/ 277226 w 572724"/>
                <a:gd name="connsiteY131" fmla="*/ 4426 h 608067"/>
                <a:gd name="connsiteX132" fmla="*/ 266194 w 572724"/>
                <a:gd name="connsiteY132" fmla="*/ 4426 h 608067"/>
                <a:gd name="connsiteX133" fmla="*/ 263185 w 572724"/>
                <a:gd name="connsiteY133" fmla="*/ 6432 h 608067"/>
                <a:gd name="connsiteX134" fmla="*/ 243126 w 572724"/>
                <a:gd name="connsiteY134" fmla="*/ 7434 h 608067"/>
                <a:gd name="connsiteX135" fmla="*/ 239114 w 572724"/>
                <a:gd name="connsiteY135" fmla="*/ 2421 h 608067"/>
                <a:gd name="connsiteX136" fmla="*/ 246135 w 572724"/>
                <a:gd name="connsiteY136" fmla="*/ 4426 h 608067"/>
                <a:gd name="connsiteX137" fmla="*/ 256164 w 572724"/>
                <a:gd name="connsiteY137" fmla="*/ 415 h 608067"/>
                <a:gd name="connsiteX138" fmla="*/ 241120 w 572724"/>
                <a:gd name="connsiteY138" fmla="*/ 1418 h 608067"/>
                <a:gd name="connsiteX139" fmla="*/ 242123 w 572724"/>
                <a:gd name="connsiteY139" fmla="*/ 1418 h 608067"/>
                <a:gd name="connsiteX140" fmla="*/ 222064 w 572724"/>
                <a:gd name="connsiteY140" fmla="*/ 4426 h 608067"/>
                <a:gd name="connsiteX141" fmla="*/ 224070 w 572724"/>
                <a:gd name="connsiteY141" fmla="*/ 1418 h 608067"/>
                <a:gd name="connsiteX142" fmla="*/ 217050 w 572724"/>
                <a:gd name="connsiteY142" fmla="*/ 2421 h 608067"/>
                <a:gd name="connsiteX143" fmla="*/ 217050 w 572724"/>
                <a:gd name="connsiteY143" fmla="*/ 3424 h 608067"/>
                <a:gd name="connsiteX144" fmla="*/ 208023 w 572724"/>
                <a:gd name="connsiteY144" fmla="*/ 5429 h 608067"/>
                <a:gd name="connsiteX145" fmla="*/ 191976 w 572724"/>
                <a:gd name="connsiteY145" fmla="*/ 13451 h 608067"/>
                <a:gd name="connsiteX146" fmla="*/ 177935 w 572724"/>
                <a:gd name="connsiteY146" fmla="*/ 22475 h 608067"/>
                <a:gd name="connsiteX147" fmla="*/ 167906 w 572724"/>
                <a:gd name="connsiteY147" fmla="*/ 26486 h 608067"/>
                <a:gd name="connsiteX148" fmla="*/ 173924 w 572724"/>
                <a:gd name="connsiteY148" fmla="*/ 23478 h 608067"/>
                <a:gd name="connsiteX149" fmla="*/ 186962 w 572724"/>
                <a:gd name="connsiteY149" fmla="*/ 15456 h 608067"/>
                <a:gd name="connsiteX150" fmla="*/ 200000 w 572724"/>
                <a:gd name="connsiteY150" fmla="*/ 8437 h 608067"/>
                <a:gd name="connsiteX151" fmla="*/ 203009 w 572724"/>
                <a:gd name="connsiteY151" fmla="*/ 6432 h 608067"/>
                <a:gd name="connsiteX152" fmla="*/ 192979 w 572724"/>
                <a:gd name="connsiteY152" fmla="*/ 10443 h 608067"/>
                <a:gd name="connsiteX153" fmla="*/ 175929 w 572724"/>
                <a:gd name="connsiteY153" fmla="*/ 19467 h 608067"/>
                <a:gd name="connsiteX154" fmla="*/ 159883 w 572724"/>
                <a:gd name="connsiteY154" fmla="*/ 29494 h 608067"/>
                <a:gd name="connsiteX155" fmla="*/ 151859 w 572724"/>
                <a:gd name="connsiteY155" fmla="*/ 34508 h 608067"/>
                <a:gd name="connsiteX156" fmla="*/ 146844 w 572724"/>
                <a:gd name="connsiteY156" fmla="*/ 39522 h 608067"/>
                <a:gd name="connsiteX157" fmla="*/ 142832 w 572724"/>
                <a:gd name="connsiteY157" fmla="*/ 38519 h 608067"/>
                <a:gd name="connsiteX158" fmla="*/ 141829 w 572724"/>
                <a:gd name="connsiteY158" fmla="*/ 39522 h 608067"/>
                <a:gd name="connsiteX159" fmla="*/ 137818 w 572724"/>
                <a:gd name="connsiteY159" fmla="*/ 40524 h 608067"/>
                <a:gd name="connsiteX160" fmla="*/ 124780 w 572724"/>
                <a:gd name="connsiteY160" fmla="*/ 50552 h 608067"/>
                <a:gd name="connsiteX161" fmla="*/ 112744 w 572724"/>
                <a:gd name="connsiteY161" fmla="*/ 62584 h 608067"/>
                <a:gd name="connsiteX162" fmla="*/ 118762 w 572724"/>
                <a:gd name="connsiteY162" fmla="*/ 50552 h 608067"/>
                <a:gd name="connsiteX163" fmla="*/ 119765 w 572724"/>
                <a:gd name="connsiteY163" fmla="*/ 50552 h 608067"/>
                <a:gd name="connsiteX164" fmla="*/ 122774 w 572724"/>
                <a:gd name="connsiteY164" fmla="*/ 45538 h 608067"/>
                <a:gd name="connsiteX165" fmla="*/ 109736 w 572724"/>
                <a:gd name="connsiteY165" fmla="*/ 57571 h 608067"/>
                <a:gd name="connsiteX166" fmla="*/ 106727 w 572724"/>
                <a:gd name="connsiteY166" fmla="*/ 59576 h 608067"/>
                <a:gd name="connsiteX167" fmla="*/ 106727 w 572724"/>
                <a:gd name="connsiteY167" fmla="*/ 59576 h 608067"/>
                <a:gd name="connsiteX168" fmla="*/ 104721 w 572724"/>
                <a:gd name="connsiteY168" fmla="*/ 59576 h 608067"/>
                <a:gd name="connsiteX169" fmla="*/ 104721 w 572724"/>
                <a:gd name="connsiteY169" fmla="*/ 58573 h 608067"/>
                <a:gd name="connsiteX170" fmla="*/ 93689 w 572724"/>
                <a:gd name="connsiteY170" fmla="*/ 68601 h 608067"/>
                <a:gd name="connsiteX171" fmla="*/ 80650 w 572724"/>
                <a:gd name="connsiteY171" fmla="*/ 84644 h 608067"/>
                <a:gd name="connsiteX172" fmla="*/ 78645 w 572724"/>
                <a:gd name="connsiteY172" fmla="*/ 88655 h 608067"/>
                <a:gd name="connsiteX173" fmla="*/ 58586 w 572724"/>
                <a:gd name="connsiteY173" fmla="*/ 112721 h 608067"/>
                <a:gd name="connsiteX174" fmla="*/ 61595 w 572724"/>
                <a:gd name="connsiteY174" fmla="*/ 113723 h 608067"/>
                <a:gd name="connsiteX175" fmla="*/ 56580 w 572724"/>
                <a:gd name="connsiteY175" fmla="*/ 121745 h 608067"/>
                <a:gd name="connsiteX176" fmla="*/ 51565 w 572724"/>
                <a:gd name="connsiteY176" fmla="*/ 123751 h 608067"/>
                <a:gd name="connsiteX177" fmla="*/ 46550 w 572724"/>
                <a:gd name="connsiteY177" fmla="*/ 124753 h 608067"/>
                <a:gd name="connsiteX178" fmla="*/ 40533 w 572724"/>
                <a:gd name="connsiteY178" fmla="*/ 136786 h 608067"/>
                <a:gd name="connsiteX179" fmla="*/ 39530 w 572724"/>
                <a:gd name="connsiteY179" fmla="*/ 144808 h 608067"/>
                <a:gd name="connsiteX180" fmla="*/ 31506 w 572724"/>
                <a:gd name="connsiteY180" fmla="*/ 156841 h 608067"/>
                <a:gd name="connsiteX181" fmla="*/ 29501 w 572724"/>
                <a:gd name="connsiteY181" fmla="*/ 154835 h 608067"/>
                <a:gd name="connsiteX182" fmla="*/ 19471 w 572724"/>
                <a:gd name="connsiteY182" fmla="*/ 173887 h 608067"/>
                <a:gd name="connsiteX183" fmla="*/ 16462 w 572724"/>
                <a:gd name="connsiteY183" fmla="*/ 194944 h 608067"/>
                <a:gd name="connsiteX184" fmla="*/ 17465 w 572724"/>
                <a:gd name="connsiteY184" fmla="*/ 206977 h 608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</a:cxnLst>
              <a:rect l="l" t="t" r="r" b="b"/>
              <a:pathLst>
                <a:path w="572724" h="608067">
                  <a:moveTo>
                    <a:pt x="17465" y="206977"/>
                  </a:moveTo>
                  <a:lnTo>
                    <a:pt x="15459" y="213996"/>
                  </a:lnTo>
                  <a:cubicBezTo>
                    <a:pt x="20474" y="189931"/>
                    <a:pt x="29501" y="165865"/>
                    <a:pt x="40533" y="142802"/>
                  </a:cubicBezTo>
                  <a:cubicBezTo>
                    <a:pt x="25489" y="165865"/>
                    <a:pt x="12451" y="194944"/>
                    <a:pt x="6433" y="223021"/>
                  </a:cubicBezTo>
                  <a:cubicBezTo>
                    <a:pt x="415" y="251097"/>
                    <a:pt x="1418" y="279173"/>
                    <a:pt x="8439" y="300230"/>
                  </a:cubicBezTo>
                  <a:cubicBezTo>
                    <a:pt x="4427" y="302236"/>
                    <a:pt x="1418" y="317277"/>
                    <a:pt x="415" y="331315"/>
                  </a:cubicBezTo>
                  <a:cubicBezTo>
                    <a:pt x="-587" y="345353"/>
                    <a:pt x="415" y="359391"/>
                    <a:pt x="1418" y="359391"/>
                  </a:cubicBezTo>
                  <a:cubicBezTo>
                    <a:pt x="4427" y="370421"/>
                    <a:pt x="7436" y="381451"/>
                    <a:pt x="10445" y="392481"/>
                  </a:cubicBezTo>
                  <a:cubicBezTo>
                    <a:pt x="8439" y="384459"/>
                    <a:pt x="6433" y="377440"/>
                    <a:pt x="4427" y="369418"/>
                  </a:cubicBezTo>
                  <a:cubicBezTo>
                    <a:pt x="6433" y="376438"/>
                    <a:pt x="8439" y="384459"/>
                    <a:pt x="10445" y="392481"/>
                  </a:cubicBezTo>
                  <a:cubicBezTo>
                    <a:pt x="15459" y="409528"/>
                    <a:pt x="21477" y="427577"/>
                    <a:pt x="29501" y="445626"/>
                  </a:cubicBezTo>
                  <a:cubicBezTo>
                    <a:pt x="37524" y="463675"/>
                    <a:pt x="47553" y="480721"/>
                    <a:pt x="60592" y="496765"/>
                  </a:cubicBezTo>
                  <a:cubicBezTo>
                    <a:pt x="86668" y="527849"/>
                    <a:pt x="120768" y="551915"/>
                    <a:pt x="156874" y="569964"/>
                  </a:cubicBezTo>
                  <a:cubicBezTo>
                    <a:pt x="176932" y="579991"/>
                    <a:pt x="216047" y="594029"/>
                    <a:pt x="257167" y="601048"/>
                  </a:cubicBezTo>
                  <a:cubicBezTo>
                    <a:pt x="278229" y="605059"/>
                    <a:pt x="299291" y="607064"/>
                    <a:pt x="317343" y="608067"/>
                  </a:cubicBezTo>
                  <a:cubicBezTo>
                    <a:pt x="336399" y="608067"/>
                    <a:pt x="353449" y="608067"/>
                    <a:pt x="364482" y="607064"/>
                  </a:cubicBezTo>
                  <a:cubicBezTo>
                    <a:pt x="371502" y="606062"/>
                    <a:pt x="378523" y="606062"/>
                    <a:pt x="385543" y="604056"/>
                  </a:cubicBezTo>
                  <a:cubicBezTo>
                    <a:pt x="373508" y="606062"/>
                    <a:pt x="373508" y="605059"/>
                    <a:pt x="362476" y="606062"/>
                  </a:cubicBezTo>
                  <a:cubicBezTo>
                    <a:pt x="390558" y="600045"/>
                    <a:pt x="415631" y="591021"/>
                    <a:pt x="438699" y="578988"/>
                  </a:cubicBezTo>
                  <a:cubicBezTo>
                    <a:pt x="433684" y="579991"/>
                    <a:pt x="432681" y="578988"/>
                    <a:pt x="422652" y="580994"/>
                  </a:cubicBezTo>
                  <a:cubicBezTo>
                    <a:pt x="426663" y="579991"/>
                    <a:pt x="430675" y="578988"/>
                    <a:pt x="434687" y="576983"/>
                  </a:cubicBezTo>
                  <a:cubicBezTo>
                    <a:pt x="444717" y="569964"/>
                    <a:pt x="467784" y="555925"/>
                    <a:pt x="476810" y="546901"/>
                  </a:cubicBezTo>
                  <a:cubicBezTo>
                    <a:pt x="475808" y="549909"/>
                    <a:pt x="483831" y="543893"/>
                    <a:pt x="490852" y="537876"/>
                  </a:cubicBezTo>
                  <a:lnTo>
                    <a:pt x="487843" y="538879"/>
                  </a:lnTo>
                  <a:cubicBezTo>
                    <a:pt x="500881" y="527849"/>
                    <a:pt x="512916" y="513811"/>
                    <a:pt x="521942" y="498770"/>
                  </a:cubicBezTo>
                  <a:cubicBezTo>
                    <a:pt x="530969" y="483729"/>
                    <a:pt x="537990" y="467686"/>
                    <a:pt x="543004" y="454650"/>
                  </a:cubicBezTo>
                  <a:cubicBezTo>
                    <a:pt x="544007" y="450639"/>
                    <a:pt x="546013" y="448634"/>
                    <a:pt x="547016" y="446628"/>
                  </a:cubicBezTo>
                  <a:cubicBezTo>
                    <a:pt x="549022" y="437604"/>
                    <a:pt x="552031" y="428579"/>
                    <a:pt x="553034" y="419555"/>
                  </a:cubicBezTo>
                  <a:cubicBezTo>
                    <a:pt x="555040" y="422563"/>
                    <a:pt x="560054" y="397495"/>
                    <a:pt x="559051" y="411533"/>
                  </a:cubicBezTo>
                  <a:cubicBezTo>
                    <a:pt x="561057" y="390476"/>
                    <a:pt x="566072" y="371424"/>
                    <a:pt x="566072" y="352372"/>
                  </a:cubicBezTo>
                  <a:cubicBezTo>
                    <a:pt x="571087" y="319282"/>
                    <a:pt x="575098" y="283184"/>
                    <a:pt x="571087" y="246083"/>
                  </a:cubicBezTo>
                  <a:cubicBezTo>
                    <a:pt x="567075" y="208982"/>
                    <a:pt x="552031" y="171881"/>
                    <a:pt x="528963" y="144808"/>
                  </a:cubicBezTo>
                  <a:lnTo>
                    <a:pt x="528963" y="146813"/>
                  </a:lnTo>
                  <a:cubicBezTo>
                    <a:pt x="512916" y="127762"/>
                    <a:pt x="493860" y="114726"/>
                    <a:pt x="469790" y="96677"/>
                  </a:cubicBezTo>
                  <a:cubicBezTo>
                    <a:pt x="459761" y="91663"/>
                    <a:pt x="447725" y="86650"/>
                    <a:pt x="437696" y="83642"/>
                  </a:cubicBezTo>
                  <a:cubicBezTo>
                    <a:pt x="432681" y="81636"/>
                    <a:pt x="427666" y="80633"/>
                    <a:pt x="422652" y="80633"/>
                  </a:cubicBezTo>
                  <a:cubicBezTo>
                    <a:pt x="418640" y="80633"/>
                    <a:pt x="414628" y="79631"/>
                    <a:pt x="412622" y="80633"/>
                  </a:cubicBezTo>
                  <a:cubicBezTo>
                    <a:pt x="406605" y="79631"/>
                    <a:pt x="401590" y="78628"/>
                    <a:pt x="397578" y="77625"/>
                  </a:cubicBezTo>
                  <a:cubicBezTo>
                    <a:pt x="392564" y="77625"/>
                    <a:pt x="388552" y="76623"/>
                    <a:pt x="384540" y="76623"/>
                  </a:cubicBezTo>
                  <a:cubicBezTo>
                    <a:pt x="380529" y="76623"/>
                    <a:pt x="376517" y="76623"/>
                    <a:pt x="372505" y="76623"/>
                  </a:cubicBezTo>
                  <a:cubicBezTo>
                    <a:pt x="368493" y="76623"/>
                    <a:pt x="363479" y="76623"/>
                    <a:pt x="357461" y="77625"/>
                  </a:cubicBezTo>
                  <a:cubicBezTo>
                    <a:pt x="360470" y="78628"/>
                    <a:pt x="355455" y="79631"/>
                    <a:pt x="350441" y="80633"/>
                  </a:cubicBezTo>
                  <a:cubicBezTo>
                    <a:pt x="346429" y="81636"/>
                    <a:pt x="341414" y="82639"/>
                    <a:pt x="347432" y="82639"/>
                  </a:cubicBezTo>
                  <a:cubicBezTo>
                    <a:pt x="361473" y="85647"/>
                    <a:pt x="362476" y="82639"/>
                    <a:pt x="374511" y="85647"/>
                  </a:cubicBezTo>
                  <a:lnTo>
                    <a:pt x="374511" y="84644"/>
                  </a:lnTo>
                  <a:cubicBezTo>
                    <a:pt x="402593" y="88655"/>
                    <a:pt x="428669" y="99685"/>
                    <a:pt x="451737" y="115729"/>
                  </a:cubicBezTo>
                  <a:cubicBezTo>
                    <a:pt x="474805" y="131772"/>
                    <a:pt x="494863" y="151827"/>
                    <a:pt x="507901" y="175892"/>
                  </a:cubicBezTo>
                  <a:cubicBezTo>
                    <a:pt x="518934" y="190933"/>
                    <a:pt x="525954" y="208982"/>
                    <a:pt x="528963" y="228034"/>
                  </a:cubicBezTo>
                  <a:cubicBezTo>
                    <a:pt x="532975" y="247086"/>
                    <a:pt x="532975" y="268143"/>
                    <a:pt x="531972" y="288198"/>
                  </a:cubicBezTo>
                  <a:cubicBezTo>
                    <a:pt x="530969" y="310258"/>
                    <a:pt x="527960" y="334323"/>
                    <a:pt x="524951" y="357386"/>
                  </a:cubicBezTo>
                  <a:cubicBezTo>
                    <a:pt x="521942" y="380448"/>
                    <a:pt x="518934" y="402508"/>
                    <a:pt x="513919" y="420557"/>
                  </a:cubicBezTo>
                  <a:cubicBezTo>
                    <a:pt x="511913" y="429582"/>
                    <a:pt x="507901" y="434596"/>
                    <a:pt x="503890" y="441615"/>
                  </a:cubicBezTo>
                  <a:cubicBezTo>
                    <a:pt x="497872" y="457658"/>
                    <a:pt x="489849" y="474705"/>
                    <a:pt x="477813" y="489746"/>
                  </a:cubicBezTo>
                  <a:cubicBezTo>
                    <a:pt x="465778" y="504786"/>
                    <a:pt x="450734" y="517822"/>
                    <a:pt x="434687" y="527849"/>
                  </a:cubicBezTo>
                  <a:cubicBezTo>
                    <a:pt x="435690" y="527849"/>
                    <a:pt x="435690" y="526846"/>
                    <a:pt x="436693" y="526846"/>
                  </a:cubicBezTo>
                  <a:cubicBezTo>
                    <a:pt x="419643" y="536874"/>
                    <a:pt x="404599" y="540885"/>
                    <a:pt x="385543" y="545898"/>
                  </a:cubicBezTo>
                  <a:cubicBezTo>
                    <a:pt x="385543" y="546901"/>
                    <a:pt x="382534" y="547904"/>
                    <a:pt x="381531" y="547904"/>
                  </a:cubicBezTo>
                  <a:cubicBezTo>
                    <a:pt x="380529" y="546901"/>
                    <a:pt x="372505" y="548906"/>
                    <a:pt x="361473" y="550912"/>
                  </a:cubicBezTo>
                  <a:cubicBezTo>
                    <a:pt x="350441" y="552917"/>
                    <a:pt x="335396" y="554923"/>
                    <a:pt x="320352" y="556928"/>
                  </a:cubicBezTo>
                  <a:cubicBezTo>
                    <a:pt x="289261" y="558934"/>
                    <a:pt x="257167" y="555925"/>
                    <a:pt x="254159" y="553920"/>
                  </a:cubicBezTo>
                  <a:cubicBezTo>
                    <a:pt x="252153" y="553920"/>
                    <a:pt x="250147" y="552917"/>
                    <a:pt x="247138" y="552917"/>
                  </a:cubicBezTo>
                  <a:cubicBezTo>
                    <a:pt x="226076" y="547904"/>
                    <a:pt x="204012" y="539882"/>
                    <a:pt x="184956" y="529855"/>
                  </a:cubicBezTo>
                  <a:cubicBezTo>
                    <a:pt x="165900" y="520830"/>
                    <a:pt x="148850" y="509800"/>
                    <a:pt x="133806" y="500776"/>
                  </a:cubicBezTo>
                  <a:cubicBezTo>
                    <a:pt x="126785" y="497767"/>
                    <a:pt x="118762" y="493756"/>
                    <a:pt x="112744" y="490748"/>
                  </a:cubicBezTo>
                  <a:cubicBezTo>
                    <a:pt x="108733" y="485735"/>
                    <a:pt x="105724" y="486737"/>
                    <a:pt x="100709" y="480721"/>
                  </a:cubicBezTo>
                  <a:cubicBezTo>
                    <a:pt x="91683" y="462672"/>
                    <a:pt x="84662" y="454650"/>
                    <a:pt x="87671" y="464677"/>
                  </a:cubicBezTo>
                  <a:cubicBezTo>
                    <a:pt x="76639" y="452645"/>
                    <a:pt x="69618" y="438607"/>
                    <a:pt x="64604" y="425571"/>
                  </a:cubicBezTo>
                  <a:cubicBezTo>
                    <a:pt x="61595" y="419555"/>
                    <a:pt x="58586" y="413538"/>
                    <a:pt x="56580" y="407522"/>
                  </a:cubicBezTo>
                  <a:cubicBezTo>
                    <a:pt x="54574" y="402508"/>
                    <a:pt x="54574" y="398498"/>
                    <a:pt x="55577" y="395489"/>
                  </a:cubicBezTo>
                  <a:cubicBezTo>
                    <a:pt x="51565" y="381451"/>
                    <a:pt x="53571" y="385462"/>
                    <a:pt x="51565" y="369418"/>
                  </a:cubicBezTo>
                  <a:cubicBezTo>
                    <a:pt x="52568" y="367413"/>
                    <a:pt x="49559" y="357386"/>
                    <a:pt x="47553" y="347358"/>
                  </a:cubicBezTo>
                  <a:cubicBezTo>
                    <a:pt x="45547" y="337331"/>
                    <a:pt x="43542" y="327304"/>
                    <a:pt x="43542" y="325299"/>
                  </a:cubicBezTo>
                  <a:lnTo>
                    <a:pt x="43542" y="328307"/>
                  </a:lnTo>
                  <a:cubicBezTo>
                    <a:pt x="42539" y="309255"/>
                    <a:pt x="47553" y="297222"/>
                    <a:pt x="48556" y="280176"/>
                  </a:cubicBezTo>
                  <a:cubicBezTo>
                    <a:pt x="50562" y="255108"/>
                    <a:pt x="54574" y="230040"/>
                    <a:pt x="61595" y="205974"/>
                  </a:cubicBezTo>
                  <a:cubicBezTo>
                    <a:pt x="67612" y="181909"/>
                    <a:pt x="77642" y="158846"/>
                    <a:pt x="89677" y="139794"/>
                  </a:cubicBezTo>
                  <a:cubicBezTo>
                    <a:pt x="87671" y="137789"/>
                    <a:pt x="85665" y="148819"/>
                    <a:pt x="82656" y="147816"/>
                  </a:cubicBezTo>
                  <a:cubicBezTo>
                    <a:pt x="95694" y="123751"/>
                    <a:pt x="113747" y="104699"/>
                    <a:pt x="132803" y="87652"/>
                  </a:cubicBezTo>
                  <a:cubicBezTo>
                    <a:pt x="136815" y="84644"/>
                    <a:pt x="141829" y="82639"/>
                    <a:pt x="143835" y="81636"/>
                  </a:cubicBezTo>
                  <a:cubicBezTo>
                    <a:pt x="150856" y="76623"/>
                    <a:pt x="146844" y="77625"/>
                    <a:pt x="151859" y="74617"/>
                  </a:cubicBezTo>
                  <a:lnTo>
                    <a:pt x="153865" y="75620"/>
                  </a:lnTo>
                  <a:cubicBezTo>
                    <a:pt x="159883" y="68601"/>
                    <a:pt x="165900" y="70606"/>
                    <a:pt x="171918" y="64590"/>
                  </a:cubicBezTo>
                  <a:cubicBezTo>
                    <a:pt x="171918" y="63587"/>
                    <a:pt x="173924" y="61582"/>
                    <a:pt x="176932" y="60579"/>
                  </a:cubicBezTo>
                  <a:cubicBezTo>
                    <a:pt x="177935" y="62584"/>
                    <a:pt x="184956" y="55565"/>
                    <a:pt x="184956" y="58573"/>
                  </a:cubicBezTo>
                  <a:lnTo>
                    <a:pt x="184956" y="58573"/>
                  </a:lnTo>
                  <a:cubicBezTo>
                    <a:pt x="186962" y="57571"/>
                    <a:pt x="187965" y="57571"/>
                    <a:pt x="189971" y="56568"/>
                  </a:cubicBezTo>
                  <a:cubicBezTo>
                    <a:pt x="190973" y="55565"/>
                    <a:pt x="197994" y="49549"/>
                    <a:pt x="206017" y="45538"/>
                  </a:cubicBezTo>
                  <a:cubicBezTo>
                    <a:pt x="213038" y="40524"/>
                    <a:pt x="221061" y="36513"/>
                    <a:pt x="223067" y="35511"/>
                  </a:cubicBezTo>
                  <a:lnTo>
                    <a:pt x="225073" y="35511"/>
                  </a:lnTo>
                  <a:cubicBezTo>
                    <a:pt x="230088" y="34508"/>
                    <a:pt x="231091" y="32503"/>
                    <a:pt x="228082" y="32503"/>
                  </a:cubicBezTo>
                  <a:lnTo>
                    <a:pt x="234100" y="31500"/>
                  </a:lnTo>
                  <a:lnTo>
                    <a:pt x="233097" y="31500"/>
                  </a:lnTo>
                  <a:lnTo>
                    <a:pt x="239114" y="30497"/>
                  </a:lnTo>
                  <a:cubicBezTo>
                    <a:pt x="240117" y="30497"/>
                    <a:pt x="241120" y="31500"/>
                    <a:pt x="240117" y="32503"/>
                  </a:cubicBezTo>
                  <a:cubicBezTo>
                    <a:pt x="243126" y="31500"/>
                    <a:pt x="247138" y="30497"/>
                    <a:pt x="250147" y="30497"/>
                  </a:cubicBezTo>
                  <a:cubicBezTo>
                    <a:pt x="241120" y="30497"/>
                    <a:pt x="229085" y="30497"/>
                    <a:pt x="219056" y="31500"/>
                  </a:cubicBezTo>
                  <a:cubicBezTo>
                    <a:pt x="223067" y="29494"/>
                    <a:pt x="230088" y="29494"/>
                    <a:pt x="234100" y="27489"/>
                  </a:cubicBezTo>
                  <a:cubicBezTo>
                    <a:pt x="237108" y="27489"/>
                    <a:pt x="241120" y="27489"/>
                    <a:pt x="245132" y="27489"/>
                  </a:cubicBezTo>
                  <a:cubicBezTo>
                    <a:pt x="249144" y="27489"/>
                    <a:pt x="254159" y="27489"/>
                    <a:pt x="258170" y="27489"/>
                  </a:cubicBezTo>
                  <a:cubicBezTo>
                    <a:pt x="260176" y="27489"/>
                    <a:pt x="261179" y="24481"/>
                    <a:pt x="265191" y="25483"/>
                  </a:cubicBezTo>
                  <a:cubicBezTo>
                    <a:pt x="267197" y="27489"/>
                    <a:pt x="270206" y="25483"/>
                    <a:pt x="273214" y="26486"/>
                  </a:cubicBezTo>
                  <a:cubicBezTo>
                    <a:pt x="269203" y="27489"/>
                    <a:pt x="265191" y="27489"/>
                    <a:pt x="261179" y="27489"/>
                  </a:cubicBezTo>
                  <a:cubicBezTo>
                    <a:pt x="261179" y="28492"/>
                    <a:pt x="264188" y="28492"/>
                    <a:pt x="266194" y="28492"/>
                  </a:cubicBezTo>
                  <a:cubicBezTo>
                    <a:pt x="269203" y="28492"/>
                    <a:pt x="272211" y="28492"/>
                    <a:pt x="273214" y="28492"/>
                  </a:cubicBezTo>
                  <a:cubicBezTo>
                    <a:pt x="274217" y="27489"/>
                    <a:pt x="282241" y="28492"/>
                    <a:pt x="287255" y="28492"/>
                  </a:cubicBezTo>
                  <a:cubicBezTo>
                    <a:pt x="285250" y="30497"/>
                    <a:pt x="291267" y="30497"/>
                    <a:pt x="293273" y="31500"/>
                  </a:cubicBezTo>
                  <a:cubicBezTo>
                    <a:pt x="296282" y="31500"/>
                    <a:pt x="298288" y="31500"/>
                    <a:pt x="297285" y="30497"/>
                  </a:cubicBezTo>
                  <a:cubicBezTo>
                    <a:pt x="298288" y="28492"/>
                    <a:pt x="285250" y="27489"/>
                    <a:pt x="289261" y="25483"/>
                  </a:cubicBezTo>
                  <a:cubicBezTo>
                    <a:pt x="290264" y="26486"/>
                    <a:pt x="296282" y="26486"/>
                    <a:pt x="300294" y="27489"/>
                  </a:cubicBezTo>
                  <a:cubicBezTo>
                    <a:pt x="300294" y="26486"/>
                    <a:pt x="298288" y="26486"/>
                    <a:pt x="300294" y="25483"/>
                  </a:cubicBezTo>
                  <a:cubicBezTo>
                    <a:pt x="304305" y="26486"/>
                    <a:pt x="308317" y="25483"/>
                    <a:pt x="310323" y="27489"/>
                  </a:cubicBezTo>
                  <a:cubicBezTo>
                    <a:pt x="309320" y="27489"/>
                    <a:pt x="308317" y="27489"/>
                    <a:pt x="307314" y="26486"/>
                  </a:cubicBezTo>
                  <a:cubicBezTo>
                    <a:pt x="309320" y="27489"/>
                    <a:pt x="302299" y="27489"/>
                    <a:pt x="296282" y="28492"/>
                  </a:cubicBezTo>
                  <a:cubicBezTo>
                    <a:pt x="289261" y="29494"/>
                    <a:pt x="283244" y="31500"/>
                    <a:pt x="286252" y="30497"/>
                  </a:cubicBezTo>
                  <a:cubicBezTo>
                    <a:pt x="285250" y="30497"/>
                    <a:pt x="292270" y="28492"/>
                    <a:pt x="299291" y="27489"/>
                  </a:cubicBezTo>
                  <a:cubicBezTo>
                    <a:pt x="306311" y="27489"/>
                    <a:pt x="313332" y="26486"/>
                    <a:pt x="311326" y="26486"/>
                  </a:cubicBezTo>
                  <a:cubicBezTo>
                    <a:pt x="308317" y="25483"/>
                    <a:pt x="314335" y="24481"/>
                    <a:pt x="311326" y="23478"/>
                  </a:cubicBezTo>
                  <a:lnTo>
                    <a:pt x="307314" y="24481"/>
                  </a:lnTo>
                  <a:cubicBezTo>
                    <a:pt x="303302" y="23478"/>
                    <a:pt x="302299" y="20470"/>
                    <a:pt x="303302" y="20470"/>
                  </a:cubicBezTo>
                  <a:cubicBezTo>
                    <a:pt x="307314" y="21473"/>
                    <a:pt x="301296" y="22475"/>
                    <a:pt x="296282" y="23478"/>
                  </a:cubicBezTo>
                  <a:cubicBezTo>
                    <a:pt x="291267" y="24481"/>
                    <a:pt x="285250" y="26486"/>
                    <a:pt x="288258" y="25483"/>
                  </a:cubicBezTo>
                  <a:lnTo>
                    <a:pt x="286252" y="24481"/>
                  </a:lnTo>
                  <a:cubicBezTo>
                    <a:pt x="289261" y="24481"/>
                    <a:pt x="296282" y="23478"/>
                    <a:pt x="298288" y="25483"/>
                  </a:cubicBezTo>
                  <a:cubicBezTo>
                    <a:pt x="298288" y="24481"/>
                    <a:pt x="302299" y="24481"/>
                    <a:pt x="305308" y="24481"/>
                  </a:cubicBezTo>
                  <a:lnTo>
                    <a:pt x="306311" y="24481"/>
                  </a:lnTo>
                  <a:cubicBezTo>
                    <a:pt x="309320" y="24481"/>
                    <a:pt x="313332" y="25483"/>
                    <a:pt x="312329" y="23478"/>
                  </a:cubicBezTo>
                  <a:cubicBezTo>
                    <a:pt x="303302" y="22475"/>
                    <a:pt x="307314" y="19467"/>
                    <a:pt x="310323" y="16459"/>
                  </a:cubicBezTo>
                  <a:cubicBezTo>
                    <a:pt x="314335" y="13451"/>
                    <a:pt x="318346" y="11445"/>
                    <a:pt x="309320" y="9440"/>
                  </a:cubicBezTo>
                  <a:cubicBezTo>
                    <a:pt x="316340" y="13451"/>
                    <a:pt x="306311" y="11445"/>
                    <a:pt x="298288" y="10443"/>
                  </a:cubicBezTo>
                  <a:cubicBezTo>
                    <a:pt x="297285" y="9440"/>
                    <a:pt x="294276" y="7434"/>
                    <a:pt x="288258" y="6432"/>
                  </a:cubicBezTo>
                  <a:cubicBezTo>
                    <a:pt x="283244" y="6432"/>
                    <a:pt x="285250" y="7434"/>
                    <a:pt x="284247" y="7434"/>
                  </a:cubicBezTo>
                  <a:cubicBezTo>
                    <a:pt x="281238" y="6432"/>
                    <a:pt x="276223" y="6432"/>
                    <a:pt x="277226" y="4426"/>
                  </a:cubicBezTo>
                  <a:cubicBezTo>
                    <a:pt x="273214" y="6432"/>
                    <a:pt x="271208" y="3424"/>
                    <a:pt x="266194" y="4426"/>
                  </a:cubicBezTo>
                  <a:cubicBezTo>
                    <a:pt x="262182" y="5429"/>
                    <a:pt x="266194" y="5429"/>
                    <a:pt x="263185" y="6432"/>
                  </a:cubicBezTo>
                  <a:cubicBezTo>
                    <a:pt x="257167" y="6432"/>
                    <a:pt x="248141" y="7434"/>
                    <a:pt x="243126" y="7434"/>
                  </a:cubicBezTo>
                  <a:cubicBezTo>
                    <a:pt x="241120" y="6432"/>
                    <a:pt x="235103" y="5429"/>
                    <a:pt x="239114" y="2421"/>
                  </a:cubicBezTo>
                  <a:cubicBezTo>
                    <a:pt x="249144" y="1418"/>
                    <a:pt x="236105" y="6432"/>
                    <a:pt x="246135" y="4426"/>
                  </a:cubicBezTo>
                  <a:cubicBezTo>
                    <a:pt x="241120" y="2421"/>
                    <a:pt x="255162" y="2421"/>
                    <a:pt x="256164" y="415"/>
                  </a:cubicBezTo>
                  <a:cubicBezTo>
                    <a:pt x="253156" y="-587"/>
                    <a:pt x="246135" y="415"/>
                    <a:pt x="241120" y="1418"/>
                  </a:cubicBezTo>
                  <a:lnTo>
                    <a:pt x="242123" y="1418"/>
                  </a:lnTo>
                  <a:cubicBezTo>
                    <a:pt x="237108" y="2421"/>
                    <a:pt x="228082" y="5429"/>
                    <a:pt x="222064" y="4426"/>
                  </a:cubicBezTo>
                  <a:cubicBezTo>
                    <a:pt x="223067" y="3424"/>
                    <a:pt x="221061" y="2421"/>
                    <a:pt x="224070" y="1418"/>
                  </a:cubicBezTo>
                  <a:lnTo>
                    <a:pt x="217050" y="2421"/>
                  </a:lnTo>
                  <a:cubicBezTo>
                    <a:pt x="216047" y="3424"/>
                    <a:pt x="215044" y="3424"/>
                    <a:pt x="217050" y="3424"/>
                  </a:cubicBezTo>
                  <a:cubicBezTo>
                    <a:pt x="214041" y="5429"/>
                    <a:pt x="211032" y="5429"/>
                    <a:pt x="208023" y="5429"/>
                  </a:cubicBezTo>
                  <a:cubicBezTo>
                    <a:pt x="207020" y="5429"/>
                    <a:pt x="198997" y="8437"/>
                    <a:pt x="191976" y="13451"/>
                  </a:cubicBezTo>
                  <a:cubicBezTo>
                    <a:pt x="183953" y="17462"/>
                    <a:pt x="176932" y="22475"/>
                    <a:pt x="177935" y="22475"/>
                  </a:cubicBezTo>
                  <a:cubicBezTo>
                    <a:pt x="173924" y="24481"/>
                    <a:pt x="171918" y="23478"/>
                    <a:pt x="167906" y="26486"/>
                  </a:cubicBezTo>
                  <a:cubicBezTo>
                    <a:pt x="167906" y="26486"/>
                    <a:pt x="169912" y="25483"/>
                    <a:pt x="173924" y="23478"/>
                  </a:cubicBezTo>
                  <a:cubicBezTo>
                    <a:pt x="177935" y="21473"/>
                    <a:pt x="181947" y="18464"/>
                    <a:pt x="186962" y="15456"/>
                  </a:cubicBezTo>
                  <a:cubicBezTo>
                    <a:pt x="191976" y="13451"/>
                    <a:pt x="195988" y="10443"/>
                    <a:pt x="200000" y="8437"/>
                  </a:cubicBezTo>
                  <a:cubicBezTo>
                    <a:pt x="203009" y="7434"/>
                    <a:pt x="205015" y="6432"/>
                    <a:pt x="203009" y="6432"/>
                  </a:cubicBezTo>
                  <a:cubicBezTo>
                    <a:pt x="202006" y="6432"/>
                    <a:pt x="197994" y="7434"/>
                    <a:pt x="192979" y="10443"/>
                  </a:cubicBezTo>
                  <a:cubicBezTo>
                    <a:pt x="187965" y="12448"/>
                    <a:pt x="181947" y="16459"/>
                    <a:pt x="175929" y="19467"/>
                  </a:cubicBezTo>
                  <a:cubicBezTo>
                    <a:pt x="169912" y="22475"/>
                    <a:pt x="164897" y="26486"/>
                    <a:pt x="159883" y="29494"/>
                  </a:cubicBezTo>
                  <a:cubicBezTo>
                    <a:pt x="155871" y="32503"/>
                    <a:pt x="152862" y="34508"/>
                    <a:pt x="151859" y="34508"/>
                  </a:cubicBezTo>
                  <a:cubicBezTo>
                    <a:pt x="148850" y="36513"/>
                    <a:pt x="145841" y="39522"/>
                    <a:pt x="146844" y="39522"/>
                  </a:cubicBezTo>
                  <a:cubicBezTo>
                    <a:pt x="141829" y="42530"/>
                    <a:pt x="146844" y="36513"/>
                    <a:pt x="142832" y="38519"/>
                  </a:cubicBezTo>
                  <a:cubicBezTo>
                    <a:pt x="142832" y="38519"/>
                    <a:pt x="143835" y="38519"/>
                    <a:pt x="141829" y="39522"/>
                  </a:cubicBezTo>
                  <a:cubicBezTo>
                    <a:pt x="140826" y="39522"/>
                    <a:pt x="138821" y="40524"/>
                    <a:pt x="137818" y="40524"/>
                  </a:cubicBezTo>
                  <a:cubicBezTo>
                    <a:pt x="134809" y="44535"/>
                    <a:pt x="129794" y="47543"/>
                    <a:pt x="124780" y="50552"/>
                  </a:cubicBezTo>
                  <a:cubicBezTo>
                    <a:pt x="120768" y="54563"/>
                    <a:pt x="115753" y="58573"/>
                    <a:pt x="112744" y="62584"/>
                  </a:cubicBezTo>
                  <a:cubicBezTo>
                    <a:pt x="113747" y="59576"/>
                    <a:pt x="114750" y="55565"/>
                    <a:pt x="118762" y="50552"/>
                  </a:cubicBezTo>
                  <a:lnTo>
                    <a:pt x="119765" y="50552"/>
                  </a:lnTo>
                  <a:cubicBezTo>
                    <a:pt x="119765" y="49549"/>
                    <a:pt x="123777" y="45538"/>
                    <a:pt x="122774" y="45538"/>
                  </a:cubicBezTo>
                  <a:cubicBezTo>
                    <a:pt x="117759" y="48546"/>
                    <a:pt x="113747" y="52557"/>
                    <a:pt x="109736" y="57571"/>
                  </a:cubicBezTo>
                  <a:cubicBezTo>
                    <a:pt x="108733" y="58573"/>
                    <a:pt x="107730" y="58573"/>
                    <a:pt x="106727" y="59576"/>
                  </a:cubicBezTo>
                  <a:cubicBezTo>
                    <a:pt x="106727" y="59576"/>
                    <a:pt x="106727" y="59576"/>
                    <a:pt x="106727" y="59576"/>
                  </a:cubicBezTo>
                  <a:cubicBezTo>
                    <a:pt x="104721" y="60579"/>
                    <a:pt x="104721" y="60579"/>
                    <a:pt x="104721" y="59576"/>
                  </a:cubicBezTo>
                  <a:cubicBezTo>
                    <a:pt x="104721" y="59576"/>
                    <a:pt x="104721" y="59576"/>
                    <a:pt x="104721" y="58573"/>
                  </a:cubicBezTo>
                  <a:cubicBezTo>
                    <a:pt x="101712" y="58573"/>
                    <a:pt x="98703" y="63587"/>
                    <a:pt x="93689" y="68601"/>
                  </a:cubicBezTo>
                  <a:cubicBezTo>
                    <a:pt x="89677" y="74617"/>
                    <a:pt x="84662" y="80633"/>
                    <a:pt x="80650" y="84644"/>
                  </a:cubicBezTo>
                  <a:cubicBezTo>
                    <a:pt x="78645" y="87652"/>
                    <a:pt x="80650" y="85647"/>
                    <a:pt x="78645" y="88655"/>
                  </a:cubicBezTo>
                  <a:cubicBezTo>
                    <a:pt x="70621" y="96677"/>
                    <a:pt x="65606" y="102693"/>
                    <a:pt x="58586" y="112721"/>
                  </a:cubicBezTo>
                  <a:cubicBezTo>
                    <a:pt x="57583" y="116732"/>
                    <a:pt x="58586" y="117734"/>
                    <a:pt x="61595" y="113723"/>
                  </a:cubicBezTo>
                  <a:lnTo>
                    <a:pt x="56580" y="121745"/>
                  </a:lnTo>
                  <a:cubicBezTo>
                    <a:pt x="56580" y="117734"/>
                    <a:pt x="53571" y="120742"/>
                    <a:pt x="51565" y="123751"/>
                  </a:cubicBezTo>
                  <a:cubicBezTo>
                    <a:pt x="48556" y="126759"/>
                    <a:pt x="46550" y="129767"/>
                    <a:pt x="46550" y="124753"/>
                  </a:cubicBezTo>
                  <a:cubicBezTo>
                    <a:pt x="44545" y="126759"/>
                    <a:pt x="41536" y="131772"/>
                    <a:pt x="40533" y="136786"/>
                  </a:cubicBezTo>
                  <a:cubicBezTo>
                    <a:pt x="41536" y="137789"/>
                    <a:pt x="42539" y="138792"/>
                    <a:pt x="39530" y="144808"/>
                  </a:cubicBezTo>
                  <a:cubicBezTo>
                    <a:pt x="34515" y="152830"/>
                    <a:pt x="35518" y="150824"/>
                    <a:pt x="31506" y="156841"/>
                  </a:cubicBezTo>
                  <a:cubicBezTo>
                    <a:pt x="29501" y="157843"/>
                    <a:pt x="30503" y="154835"/>
                    <a:pt x="29501" y="154835"/>
                  </a:cubicBezTo>
                  <a:cubicBezTo>
                    <a:pt x="27495" y="165865"/>
                    <a:pt x="23483" y="162857"/>
                    <a:pt x="19471" y="173887"/>
                  </a:cubicBezTo>
                  <a:cubicBezTo>
                    <a:pt x="17465" y="180906"/>
                    <a:pt x="14457" y="193941"/>
                    <a:pt x="16462" y="194944"/>
                  </a:cubicBezTo>
                  <a:cubicBezTo>
                    <a:pt x="20474" y="208982"/>
                    <a:pt x="18468" y="208982"/>
                    <a:pt x="17465" y="206977"/>
                  </a:cubicBezTo>
                  <a:close/>
                </a:path>
              </a:pathLst>
            </a:custGeom>
            <a:solidFill>
              <a:srgbClr val="154573"/>
            </a:solidFill>
            <a:ln w="100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 sz="1800"/>
            </a:p>
          </p:txBody>
        </p:sp>
      </p:grpSp>
      <p:grpSp>
        <p:nvGrpSpPr>
          <p:cNvPr id="25" name="Gruppe 24">
            <a:extLst>
              <a:ext uri="{FF2B5EF4-FFF2-40B4-BE49-F238E27FC236}">
                <a16:creationId xmlns:a16="http://schemas.microsoft.com/office/drawing/2014/main" id="{18CE61A2-D431-9A4C-8373-1E05182494CA}"/>
              </a:ext>
            </a:extLst>
          </p:cNvPr>
          <p:cNvGrpSpPr/>
          <p:nvPr userDrawn="1"/>
        </p:nvGrpSpPr>
        <p:grpSpPr>
          <a:xfrm>
            <a:off x="1308676" y="4692804"/>
            <a:ext cx="577040" cy="833754"/>
            <a:chOff x="3696530" y="4107267"/>
            <a:chExt cx="577040" cy="833754"/>
          </a:xfrm>
        </p:grpSpPr>
        <p:sp>
          <p:nvSpPr>
            <p:cNvPr id="15" name="Tekstfelt 14">
              <a:extLst>
                <a:ext uri="{FF2B5EF4-FFF2-40B4-BE49-F238E27FC236}">
                  <a16:creationId xmlns:a16="http://schemas.microsoft.com/office/drawing/2014/main" id="{F99AFC48-91AC-5F4D-B792-9F3BC4563246}"/>
                </a:ext>
              </a:extLst>
            </p:cNvPr>
            <p:cNvSpPr txBox="1"/>
            <p:nvPr/>
          </p:nvSpPr>
          <p:spPr>
            <a:xfrm>
              <a:off x="3776318" y="4107267"/>
              <a:ext cx="497252" cy="8337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da-DK" sz="4818" spc="0" baseline="0">
                  <a:solidFill>
                    <a:srgbClr val="154573"/>
                  </a:solidFill>
                  <a:latin typeface="Manus"/>
                  <a:sym typeface="Manus"/>
                  <a:rtl val="0"/>
                </a:rPr>
                <a:t>4</a:t>
              </a:r>
            </a:p>
          </p:txBody>
        </p:sp>
        <p:sp>
          <p:nvSpPr>
            <p:cNvPr id="21" name="Kombinationstegning 20">
              <a:extLst>
                <a:ext uri="{FF2B5EF4-FFF2-40B4-BE49-F238E27FC236}">
                  <a16:creationId xmlns:a16="http://schemas.microsoft.com/office/drawing/2014/main" id="{37E26D19-BA0B-7B4A-98E7-0A65C7D39993}"/>
                </a:ext>
              </a:extLst>
            </p:cNvPr>
            <p:cNvSpPr/>
            <p:nvPr/>
          </p:nvSpPr>
          <p:spPr>
            <a:xfrm>
              <a:off x="3696530" y="4164662"/>
              <a:ext cx="572723" cy="608067"/>
            </a:xfrm>
            <a:custGeom>
              <a:avLst/>
              <a:gdLst>
                <a:gd name="connsiteX0" fmla="*/ 17465 w 572723"/>
                <a:gd name="connsiteY0" fmla="*/ 206977 h 608067"/>
                <a:gd name="connsiteX1" fmla="*/ 15460 w 572723"/>
                <a:gd name="connsiteY1" fmla="*/ 213996 h 608067"/>
                <a:gd name="connsiteX2" fmla="*/ 40533 w 572723"/>
                <a:gd name="connsiteY2" fmla="*/ 142802 h 608067"/>
                <a:gd name="connsiteX3" fmla="*/ 6433 w 572723"/>
                <a:gd name="connsiteY3" fmla="*/ 223020 h 608067"/>
                <a:gd name="connsiteX4" fmla="*/ 8439 w 572723"/>
                <a:gd name="connsiteY4" fmla="*/ 300230 h 608067"/>
                <a:gd name="connsiteX5" fmla="*/ 415 w 572723"/>
                <a:gd name="connsiteY5" fmla="*/ 331315 h 608067"/>
                <a:gd name="connsiteX6" fmla="*/ 1418 w 572723"/>
                <a:gd name="connsiteY6" fmla="*/ 359391 h 608067"/>
                <a:gd name="connsiteX7" fmla="*/ 10445 w 572723"/>
                <a:gd name="connsiteY7" fmla="*/ 392481 h 608067"/>
                <a:gd name="connsiteX8" fmla="*/ 4427 w 572723"/>
                <a:gd name="connsiteY8" fmla="*/ 369418 h 608067"/>
                <a:gd name="connsiteX9" fmla="*/ 10445 w 572723"/>
                <a:gd name="connsiteY9" fmla="*/ 392481 h 608067"/>
                <a:gd name="connsiteX10" fmla="*/ 29501 w 572723"/>
                <a:gd name="connsiteY10" fmla="*/ 445626 h 608067"/>
                <a:gd name="connsiteX11" fmla="*/ 60592 w 572723"/>
                <a:gd name="connsiteY11" fmla="*/ 496765 h 608067"/>
                <a:gd name="connsiteX12" fmla="*/ 156873 w 572723"/>
                <a:gd name="connsiteY12" fmla="*/ 569964 h 608067"/>
                <a:gd name="connsiteX13" fmla="*/ 257167 w 572723"/>
                <a:gd name="connsiteY13" fmla="*/ 601048 h 608067"/>
                <a:gd name="connsiteX14" fmla="*/ 317343 w 572723"/>
                <a:gd name="connsiteY14" fmla="*/ 608067 h 608067"/>
                <a:gd name="connsiteX15" fmla="*/ 364481 w 572723"/>
                <a:gd name="connsiteY15" fmla="*/ 607064 h 608067"/>
                <a:gd name="connsiteX16" fmla="*/ 385543 w 572723"/>
                <a:gd name="connsiteY16" fmla="*/ 604056 h 608067"/>
                <a:gd name="connsiteX17" fmla="*/ 362475 w 572723"/>
                <a:gd name="connsiteY17" fmla="*/ 606062 h 608067"/>
                <a:gd name="connsiteX18" fmla="*/ 438699 w 572723"/>
                <a:gd name="connsiteY18" fmla="*/ 578988 h 608067"/>
                <a:gd name="connsiteX19" fmla="*/ 422652 w 572723"/>
                <a:gd name="connsiteY19" fmla="*/ 580994 h 608067"/>
                <a:gd name="connsiteX20" fmla="*/ 434687 w 572723"/>
                <a:gd name="connsiteY20" fmla="*/ 576983 h 608067"/>
                <a:gd name="connsiteX21" fmla="*/ 476810 w 572723"/>
                <a:gd name="connsiteY21" fmla="*/ 546901 h 608067"/>
                <a:gd name="connsiteX22" fmla="*/ 490852 w 572723"/>
                <a:gd name="connsiteY22" fmla="*/ 537876 h 608067"/>
                <a:gd name="connsiteX23" fmla="*/ 487843 w 572723"/>
                <a:gd name="connsiteY23" fmla="*/ 538879 h 608067"/>
                <a:gd name="connsiteX24" fmla="*/ 521943 w 572723"/>
                <a:gd name="connsiteY24" fmla="*/ 498770 h 608067"/>
                <a:gd name="connsiteX25" fmla="*/ 543004 w 572723"/>
                <a:gd name="connsiteY25" fmla="*/ 454650 h 608067"/>
                <a:gd name="connsiteX26" fmla="*/ 547016 w 572723"/>
                <a:gd name="connsiteY26" fmla="*/ 446628 h 608067"/>
                <a:gd name="connsiteX27" fmla="*/ 553033 w 572723"/>
                <a:gd name="connsiteY27" fmla="*/ 419555 h 608067"/>
                <a:gd name="connsiteX28" fmla="*/ 559051 w 572723"/>
                <a:gd name="connsiteY28" fmla="*/ 411533 h 608067"/>
                <a:gd name="connsiteX29" fmla="*/ 566072 w 572723"/>
                <a:gd name="connsiteY29" fmla="*/ 352372 h 608067"/>
                <a:gd name="connsiteX30" fmla="*/ 571086 w 572723"/>
                <a:gd name="connsiteY30" fmla="*/ 246083 h 608067"/>
                <a:gd name="connsiteX31" fmla="*/ 528963 w 572723"/>
                <a:gd name="connsiteY31" fmla="*/ 144808 h 608067"/>
                <a:gd name="connsiteX32" fmla="*/ 528963 w 572723"/>
                <a:gd name="connsiteY32" fmla="*/ 146813 h 608067"/>
                <a:gd name="connsiteX33" fmla="*/ 469790 w 572723"/>
                <a:gd name="connsiteY33" fmla="*/ 96677 h 608067"/>
                <a:gd name="connsiteX34" fmla="*/ 437696 w 572723"/>
                <a:gd name="connsiteY34" fmla="*/ 83642 h 608067"/>
                <a:gd name="connsiteX35" fmla="*/ 422652 w 572723"/>
                <a:gd name="connsiteY35" fmla="*/ 80633 h 608067"/>
                <a:gd name="connsiteX36" fmla="*/ 412622 w 572723"/>
                <a:gd name="connsiteY36" fmla="*/ 80633 h 608067"/>
                <a:gd name="connsiteX37" fmla="*/ 397578 w 572723"/>
                <a:gd name="connsiteY37" fmla="*/ 77625 h 608067"/>
                <a:gd name="connsiteX38" fmla="*/ 384540 w 572723"/>
                <a:gd name="connsiteY38" fmla="*/ 76623 h 608067"/>
                <a:gd name="connsiteX39" fmla="*/ 372505 w 572723"/>
                <a:gd name="connsiteY39" fmla="*/ 76623 h 608067"/>
                <a:gd name="connsiteX40" fmla="*/ 357461 w 572723"/>
                <a:gd name="connsiteY40" fmla="*/ 77625 h 608067"/>
                <a:gd name="connsiteX41" fmla="*/ 350440 w 572723"/>
                <a:gd name="connsiteY41" fmla="*/ 80633 h 608067"/>
                <a:gd name="connsiteX42" fmla="*/ 347431 w 572723"/>
                <a:gd name="connsiteY42" fmla="*/ 82639 h 608067"/>
                <a:gd name="connsiteX43" fmla="*/ 374511 w 572723"/>
                <a:gd name="connsiteY43" fmla="*/ 85647 h 608067"/>
                <a:gd name="connsiteX44" fmla="*/ 374511 w 572723"/>
                <a:gd name="connsiteY44" fmla="*/ 84644 h 608067"/>
                <a:gd name="connsiteX45" fmla="*/ 451737 w 572723"/>
                <a:gd name="connsiteY45" fmla="*/ 115729 h 608067"/>
                <a:gd name="connsiteX46" fmla="*/ 507901 w 572723"/>
                <a:gd name="connsiteY46" fmla="*/ 175892 h 608067"/>
                <a:gd name="connsiteX47" fmla="*/ 528963 w 572723"/>
                <a:gd name="connsiteY47" fmla="*/ 228034 h 608067"/>
                <a:gd name="connsiteX48" fmla="*/ 531972 w 572723"/>
                <a:gd name="connsiteY48" fmla="*/ 288198 h 608067"/>
                <a:gd name="connsiteX49" fmla="*/ 524951 w 572723"/>
                <a:gd name="connsiteY49" fmla="*/ 357386 h 608067"/>
                <a:gd name="connsiteX50" fmla="*/ 513919 w 572723"/>
                <a:gd name="connsiteY50" fmla="*/ 420557 h 608067"/>
                <a:gd name="connsiteX51" fmla="*/ 503890 w 572723"/>
                <a:gd name="connsiteY51" fmla="*/ 441615 h 608067"/>
                <a:gd name="connsiteX52" fmla="*/ 477813 w 572723"/>
                <a:gd name="connsiteY52" fmla="*/ 489746 h 608067"/>
                <a:gd name="connsiteX53" fmla="*/ 434687 w 572723"/>
                <a:gd name="connsiteY53" fmla="*/ 527849 h 608067"/>
                <a:gd name="connsiteX54" fmla="*/ 436693 w 572723"/>
                <a:gd name="connsiteY54" fmla="*/ 526846 h 608067"/>
                <a:gd name="connsiteX55" fmla="*/ 385543 w 572723"/>
                <a:gd name="connsiteY55" fmla="*/ 545898 h 608067"/>
                <a:gd name="connsiteX56" fmla="*/ 381531 w 572723"/>
                <a:gd name="connsiteY56" fmla="*/ 547904 h 608067"/>
                <a:gd name="connsiteX57" fmla="*/ 361473 w 572723"/>
                <a:gd name="connsiteY57" fmla="*/ 550912 h 608067"/>
                <a:gd name="connsiteX58" fmla="*/ 320352 w 572723"/>
                <a:gd name="connsiteY58" fmla="*/ 556928 h 608067"/>
                <a:gd name="connsiteX59" fmla="*/ 254158 w 572723"/>
                <a:gd name="connsiteY59" fmla="*/ 553920 h 608067"/>
                <a:gd name="connsiteX60" fmla="*/ 247138 w 572723"/>
                <a:gd name="connsiteY60" fmla="*/ 552917 h 608067"/>
                <a:gd name="connsiteX61" fmla="*/ 184956 w 572723"/>
                <a:gd name="connsiteY61" fmla="*/ 529855 h 608067"/>
                <a:gd name="connsiteX62" fmla="*/ 133806 w 572723"/>
                <a:gd name="connsiteY62" fmla="*/ 500776 h 608067"/>
                <a:gd name="connsiteX63" fmla="*/ 112744 w 572723"/>
                <a:gd name="connsiteY63" fmla="*/ 490748 h 608067"/>
                <a:gd name="connsiteX64" fmla="*/ 100709 w 572723"/>
                <a:gd name="connsiteY64" fmla="*/ 480721 h 608067"/>
                <a:gd name="connsiteX65" fmla="*/ 87671 w 572723"/>
                <a:gd name="connsiteY65" fmla="*/ 464677 h 608067"/>
                <a:gd name="connsiteX66" fmla="*/ 64603 w 572723"/>
                <a:gd name="connsiteY66" fmla="*/ 425571 h 608067"/>
                <a:gd name="connsiteX67" fmla="*/ 56580 w 572723"/>
                <a:gd name="connsiteY67" fmla="*/ 407522 h 608067"/>
                <a:gd name="connsiteX68" fmla="*/ 55577 w 572723"/>
                <a:gd name="connsiteY68" fmla="*/ 395489 h 608067"/>
                <a:gd name="connsiteX69" fmla="*/ 51565 w 572723"/>
                <a:gd name="connsiteY69" fmla="*/ 369418 h 608067"/>
                <a:gd name="connsiteX70" fmla="*/ 47553 w 572723"/>
                <a:gd name="connsiteY70" fmla="*/ 347359 h 608067"/>
                <a:gd name="connsiteX71" fmla="*/ 43542 w 572723"/>
                <a:gd name="connsiteY71" fmla="*/ 325299 h 608067"/>
                <a:gd name="connsiteX72" fmla="*/ 43542 w 572723"/>
                <a:gd name="connsiteY72" fmla="*/ 328307 h 608067"/>
                <a:gd name="connsiteX73" fmla="*/ 48556 w 572723"/>
                <a:gd name="connsiteY73" fmla="*/ 280176 h 608067"/>
                <a:gd name="connsiteX74" fmla="*/ 61594 w 572723"/>
                <a:gd name="connsiteY74" fmla="*/ 205974 h 608067"/>
                <a:gd name="connsiteX75" fmla="*/ 89677 w 572723"/>
                <a:gd name="connsiteY75" fmla="*/ 139794 h 608067"/>
                <a:gd name="connsiteX76" fmla="*/ 82656 w 572723"/>
                <a:gd name="connsiteY76" fmla="*/ 147816 h 608067"/>
                <a:gd name="connsiteX77" fmla="*/ 132803 w 572723"/>
                <a:gd name="connsiteY77" fmla="*/ 87653 h 608067"/>
                <a:gd name="connsiteX78" fmla="*/ 143835 w 572723"/>
                <a:gd name="connsiteY78" fmla="*/ 81636 h 608067"/>
                <a:gd name="connsiteX79" fmla="*/ 151859 w 572723"/>
                <a:gd name="connsiteY79" fmla="*/ 74617 h 608067"/>
                <a:gd name="connsiteX80" fmla="*/ 153865 w 572723"/>
                <a:gd name="connsiteY80" fmla="*/ 75620 h 608067"/>
                <a:gd name="connsiteX81" fmla="*/ 171917 w 572723"/>
                <a:gd name="connsiteY81" fmla="*/ 64590 h 608067"/>
                <a:gd name="connsiteX82" fmla="*/ 176932 w 572723"/>
                <a:gd name="connsiteY82" fmla="*/ 60579 h 608067"/>
                <a:gd name="connsiteX83" fmla="*/ 184956 w 572723"/>
                <a:gd name="connsiteY83" fmla="*/ 58573 h 608067"/>
                <a:gd name="connsiteX84" fmla="*/ 184956 w 572723"/>
                <a:gd name="connsiteY84" fmla="*/ 58573 h 608067"/>
                <a:gd name="connsiteX85" fmla="*/ 189970 w 572723"/>
                <a:gd name="connsiteY85" fmla="*/ 56568 h 608067"/>
                <a:gd name="connsiteX86" fmla="*/ 206018 w 572723"/>
                <a:gd name="connsiteY86" fmla="*/ 45538 h 608067"/>
                <a:gd name="connsiteX87" fmla="*/ 223067 w 572723"/>
                <a:gd name="connsiteY87" fmla="*/ 35511 h 608067"/>
                <a:gd name="connsiteX88" fmla="*/ 225073 w 572723"/>
                <a:gd name="connsiteY88" fmla="*/ 35511 h 608067"/>
                <a:gd name="connsiteX89" fmla="*/ 228082 w 572723"/>
                <a:gd name="connsiteY89" fmla="*/ 32503 h 608067"/>
                <a:gd name="connsiteX90" fmla="*/ 234100 w 572723"/>
                <a:gd name="connsiteY90" fmla="*/ 31500 h 608067"/>
                <a:gd name="connsiteX91" fmla="*/ 233097 w 572723"/>
                <a:gd name="connsiteY91" fmla="*/ 31500 h 608067"/>
                <a:gd name="connsiteX92" fmla="*/ 239114 w 572723"/>
                <a:gd name="connsiteY92" fmla="*/ 30497 h 608067"/>
                <a:gd name="connsiteX93" fmla="*/ 240117 w 572723"/>
                <a:gd name="connsiteY93" fmla="*/ 32503 h 608067"/>
                <a:gd name="connsiteX94" fmla="*/ 250147 w 572723"/>
                <a:gd name="connsiteY94" fmla="*/ 30497 h 608067"/>
                <a:gd name="connsiteX95" fmla="*/ 219056 w 572723"/>
                <a:gd name="connsiteY95" fmla="*/ 31500 h 608067"/>
                <a:gd name="connsiteX96" fmla="*/ 234100 w 572723"/>
                <a:gd name="connsiteY96" fmla="*/ 27489 h 608067"/>
                <a:gd name="connsiteX97" fmla="*/ 245132 w 572723"/>
                <a:gd name="connsiteY97" fmla="*/ 27489 h 608067"/>
                <a:gd name="connsiteX98" fmla="*/ 258170 w 572723"/>
                <a:gd name="connsiteY98" fmla="*/ 27489 h 608067"/>
                <a:gd name="connsiteX99" fmla="*/ 265191 w 572723"/>
                <a:gd name="connsiteY99" fmla="*/ 25483 h 608067"/>
                <a:gd name="connsiteX100" fmla="*/ 273214 w 572723"/>
                <a:gd name="connsiteY100" fmla="*/ 26486 h 608067"/>
                <a:gd name="connsiteX101" fmla="*/ 261179 w 572723"/>
                <a:gd name="connsiteY101" fmla="*/ 27489 h 608067"/>
                <a:gd name="connsiteX102" fmla="*/ 266194 w 572723"/>
                <a:gd name="connsiteY102" fmla="*/ 28492 h 608067"/>
                <a:gd name="connsiteX103" fmla="*/ 273214 w 572723"/>
                <a:gd name="connsiteY103" fmla="*/ 28492 h 608067"/>
                <a:gd name="connsiteX104" fmla="*/ 287255 w 572723"/>
                <a:gd name="connsiteY104" fmla="*/ 28492 h 608067"/>
                <a:gd name="connsiteX105" fmla="*/ 293273 w 572723"/>
                <a:gd name="connsiteY105" fmla="*/ 31500 h 608067"/>
                <a:gd name="connsiteX106" fmla="*/ 297285 w 572723"/>
                <a:gd name="connsiteY106" fmla="*/ 30497 h 608067"/>
                <a:gd name="connsiteX107" fmla="*/ 289261 w 572723"/>
                <a:gd name="connsiteY107" fmla="*/ 25483 h 608067"/>
                <a:gd name="connsiteX108" fmla="*/ 300294 w 572723"/>
                <a:gd name="connsiteY108" fmla="*/ 27489 h 608067"/>
                <a:gd name="connsiteX109" fmla="*/ 300294 w 572723"/>
                <a:gd name="connsiteY109" fmla="*/ 25483 h 608067"/>
                <a:gd name="connsiteX110" fmla="*/ 310323 w 572723"/>
                <a:gd name="connsiteY110" fmla="*/ 27489 h 608067"/>
                <a:gd name="connsiteX111" fmla="*/ 307314 w 572723"/>
                <a:gd name="connsiteY111" fmla="*/ 26486 h 608067"/>
                <a:gd name="connsiteX112" fmla="*/ 296282 w 572723"/>
                <a:gd name="connsiteY112" fmla="*/ 28492 h 608067"/>
                <a:gd name="connsiteX113" fmla="*/ 286252 w 572723"/>
                <a:gd name="connsiteY113" fmla="*/ 30497 h 608067"/>
                <a:gd name="connsiteX114" fmla="*/ 299291 w 572723"/>
                <a:gd name="connsiteY114" fmla="*/ 27489 h 608067"/>
                <a:gd name="connsiteX115" fmla="*/ 311326 w 572723"/>
                <a:gd name="connsiteY115" fmla="*/ 26486 h 608067"/>
                <a:gd name="connsiteX116" fmla="*/ 311326 w 572723"/>
                <a:gd name="connsiteY116" fmla="*/ 23478 h 608067"/>
                <a:gd name="connsiteX117" fmla="*/ 307314 w 572723"/>
                <a:gd name="connsiteY117" fmla="*/ 24481 h 608067"/>
                <a:gd name="connsiteX118" fmla="*/ 303302 w 572723"/>
                <a:gd name="connsiteY118" fmla="*/ 20470 h 608067"/>
                <a:gd name="connsiteX119" fmla="*/ 296282 w 572723"/>
                <a:gd name="connsiteY119" fmla="*/ 23478 h 608067"/>
                <a:gd name="connsiteX120" fmla="*/ 288258 w 572723"/>
                <a:gd name="connsiteY120" fmla="*/ 25483 h 608067"/>
                <a:gd name="connsiteX121" fmla="*/ 286252 w 572723"/>
                <a:gd name="connsiteY121" fmla="*/ 24481 h 608067"/>
                <a:gd name="connsiteX122" fmla="*/ 298288 w 572723"/>
                <a:gd name="connsiteY122" fmla="*/ 25483 h 608067"/>
                <a:gd name="connsiteX123" fmla="*/ 305308 w 572723"/>
                <a:gd name="connsiteY123" fmla="*/ 24481 h 608067"/>
                <a:gd name="connsiteX124" fmla="*/ 306311 w 572723"/>
                <a:gd name="connsiteY124" fmla="*/ 24481 h 608067"/>
                <a:gd name="connsiteX125" fmla="*/ 312329 w 572723"/>
                <a:gd name="connsiteY125" fmla="*/ 23478 h 608067"/>
                <a:gd name="connsiteX126" fmla="*/ 310323 w 572723"/>
                <a:gd name="connsiteY126" fmla="*/ 16459 h 608067"/>
                <a:gd name="connsiteX127" fmla="*/ 309320 w 572723"/>
                <a:gd name="connsiteY127" fmla="*/ 9440 h 608067"/>
                <a:gd name="connsiteX128" fmla="*/ 298288 w 572723"/>
                <a:gd name="connsiteY128" fmla="*/ 10443 h 608067"/>
                <a:gd name="connsiteX129" fmla="*/ 288258 w 572723"/>
                <a:gd name="connsiteY129" fmla="*/ 6432 h 608067"/>
                <a:gd name="connsiteX130" fmla="*/ 284246 w 572723"/>
                <a:gd name="connsiteY130" fmla="*/ 7434 h 608067"/>
                <a:gd name="connsiteX131" fmla="*/ 277226 w 572723"/>
                <a:gd name="connsiteY131" fmla="*/ 4426 h 608067"/>
                <a:gd name="connsiteX132" fmla="*/ 266194 w 572723"/>
                <a:gd name="connsiteY132" fmla="*/ 4426 h 608067"/>
                <a:gd name="connsiteX133" fmla="*/ 263185 w 572723"/>
                <a:gd name="connsiteY133" fmla="*/ 6432 h 608067"/>
                <a:gd name="connsiteX134" fmla="*/ 243126 w 572723"/>
                <a:gd name="connsiteY134" fmla="*/ 7434 h 608067"/>
                <a:gd name="connsiteX135" fmla="*/ 239114 w 572723"/>
                <a:gd name="connsiteY135" fmla="*/ 2421 h 608067"/>
                <a:gd name="connsiteX136" fmla="*/ 246135 w 572723"/>
                <a:gd name="connsiteY136" fmla="*/ 4426 h 608067"/>
                <a:gd name="connsiteX137" fmla="*/ 256164 w 572723"/>
                <a:gd name="connsiteY137" fmla="*/ 415 h 608067"/>
                <a:gd name="connsiteX138" fmla="*/ 241120 w 572723"/>
                <a:gd name="connsiteY138" fmla="*/ 1418 h 608067"/>
                <a:gd name="connsiteX139" fmla="*/ 242123 w 572723"/>
                <a:gd name="connsiteY139" fmla="*/ 1418 h 608067"/>
                <a:gd name="connsiteX140" fmla="*/ 222064 w 572723"/>
                <a:gd name="connsiteY140" fmla="*/ 4426 h 608067"/>
                <a:gd name="connsiteX141" fmla="*/ 224070 w 572723"/>
                <a:gd name="connsiteY141" fmla="*/ 1418 h 608067"/>
                <a:gd name="connsiteX142" fmla="*/ 217050 w 572723"/>
                <a:gd name="connsiteY142" fmla="*/ 2421 h 608067"/>
                <a:gd name="connsiteX143" fmla="*/ 217050 w 572723"/>
                <a:gd name="connsiteY143" fmla="*/ 3424 h 608067"/>
                <a:gd name="connsiteX144" fmla="*/ 208023 w 572723"/>
                <a:gd name="connsiteY144" fmla="*/ 5429 h 608067"/>
                <a:gd name="connsiteX145" fmla="*/ 191976 w 572723"/>
                <a:gd name="connsiteY145" fmla="*/ 13451 h 608067"/>
                <a:gd name="connsiteX146" fmla="*/ 177935 w 572723"/>
                <a:gd name="connsiteY146" fmla="*/ 22475 h 608067"/>
                <a:gd name="connsiteX147" fmla="*/ 167906 w 572723"/>
                <a:gd name="connsiteY147" fmla="*/ 26486 h 608067"/>
                <a:gd name="connsiteX148" fmla="*/ 173923 w 572723"/>
                <a:gd name="connsiteY148" fmla="*/ 23478 h 608067"/>
                <a:gd name="connsiteX149" fmla="*/ 186961 w 572723"/>
                <a:gd name="connsiteY149" fmla="*/ 15456 h 608067"/>
                <a:gd name="connsiteX150" fmla="*/ 200000 w 572723"/>
                <a:gd name="connsiteY150" fmla="*/ 8437 h 608067"/>
                <a:gd name="connsiteX151" fmla="*/ 203009 w 572723"/>
                <a:gd name="connsiteY151" fmla="*/ 6432 h 608067"/>
                <a:gd name="connsiteX152" fmla="*/ 192979 w 572723"/>
                <a:gd name="connsiteY152" fmla="*/ 10443 h 608067"/>
                <a:gd name="connsiteX153" fmla="*/ 175929 w 572723"/>
                <a:gd name="connsiteY153" fmla="*/ 19467 h 608067"/>
                <a:gd name="connsiteX154" fmla="*/ 159882 w 572723"/>
                <a:gd name="connsiteY154" fmla="*/ 29494 h 608067"/>
                <a:gd name="connsiteX155" fmla="*/ 151859 w 572723"/>
                <a:gd name="connsiteY155" fmla="*/ 34508 h 608067"/>
                <a:gd name="connsiteX156" fmla="*/ 146844 w 572723"/>
                <a:gd name="connsiteY156" fmla="*/ 39522 h 608067"/>
                <a:gd name="connsiteX157" fmla="*/ 142832 w 572723"/>
                <a:gd name="connsiteY157" fmla="*/ 38519 h 608067"/>
                <a:gd name="connsiteX158" fmla="*/ 141829 w 572723"/>
                <a:gd name="connsiteY158" fmla="*/ 39522 h 608067"/>
                <a:gd name="connsiteX159" fmla="*/ 137818 w 572723"/>
                <a:gd name="connsiteY159" fmla="*/ 40524 h 608067"/>
                <a:gd name="connsiteX160" fmla="*/ 124780 w 572723"/>
                <a:gd name="connsiteY160" fmla="*/ 50552 h 608067"/>
                <a:gd name="connsiteX161" fmla="*/ 112744 w 572723"/>
                <a:gd name="connsiteY161" fmla="*/ 62584 h 608067"/>
                <a:gd name="connsiteX162" fmla="*/ 118762 w 572723"/>
                <a:gd name="connsiteY162" fmla="*/ 50552 h 608067"/>
                <a:gd name="connsiteX163" fmla="*/ 119765 w 572723"/>
                <a:gd name="connsiteY163" fmla="*/ 50552 h 608067"/>
                <a:gd name="connsiteX164" fmla="*/ 122774 w 572723"/>
                <a:gd name="connsiteY164" fmla="*/ 45538 h 608067"/>
                <a:gd name="connsiteX165" fmla="*/ 109736 w 572723"/>
                <a:gd name="connsiteY165" fmla="*/ 57571 h 608067"/>
                <a:gd name="connsiteX166" fmla="*/ 106727 w 572723"/>
                <a:gd name="connsiteY166" fmla="*/ 59576 h 608067"/>
                <a:gd name="connsiteX167" fmla="*/ 106727 w 572723"/>
                <a:gd name="connsiteY167" fmla="*/ 59576 h 608067"/>
                <a:gd name="connsiteX168" fmla="*/ 104721 w 572723"/>
                <a:gd name="connsiteY168" fmla="*/ 59576 h 608067"/>
                <a:gd name="connsiteX169" fmla="*/ 104721 w 572723"/>
                <a:gd name="connsiteY169" fmla="*/ 58573 h 608067"/>
                <a:gd name="connsiteX170" fmla="*/ 93688 w 572723"/>
                <a:gd name="connsiteY170" fmla="*/ 68601 h 608067"/>
                <a:gd name="connsiteX171" fmla="*/ 80650 w 572723"/>
                <a:gd name="connsiteY171" fmla="*/ 84644 h 608067"/>
                <a:gd name="connsiteX172" fmla="*/ 78644 w 572723"/>
                <a:gd name="connsiteY172" fmla="*/ 88655 h 608067"/>
                <a:gd name="connsiteX173" fmla="*/ 58586 w 572723"/>
                <a:gd name="connsiteY173" fmla="*/ 112721 h 608067"/>
                <a:gd name="connsiteX174" fmla="*/ 61594 w 572723"/>
                <a:gd name="connsiteY174" fmla="*/ 113723 h 608067"/>
                <a:gd name="connsiteX175" fmla="*/ 56580 w 572723"/>
                <a:gd name="connsiteY175" fmla="*/ 121745 h 608067"/>
                <a:gd name="connsiteX176" fmla="*/ 51565 w 572723"/>
                <a:gd name="connsiteY176" fmla="*/ 123751 h 608067"/>
                <a:gd name="connsiteX177" fmla="*/ 46550 w 572723"/>
                <a:gd name="connsiteY177" fmla="*/ 124753 h 608067"/>
                <a:gd name="connsiteX178" fmla="*/ 40533 w 572723"/>
                <a:gd name="connsiteY178" fmla="*/ 136786 h 608067"/>
                <a:gd name="connsiteX179" fmla="*/ 39530 w 572723"/>
                <a:gd name="connsiteY179" fmla="*/ 144808 h 608067"/>
                <a:gd name="connsiteX180" fmla="*/ 31506 w 572723"/>
                <a:gd name="connsiteY180" fmla="*/ 156841 h 608067"/>
                <a:gd name="connsiteX181" fmla="*/ 29501 w 572723"/>
                <a:gd name="connsiteY181" fmla="*/ 154835 h 608067"/>
                <a:gd name="connsiteX182" fmla="*/ 19471 w 572723"/>
                <a:gd name="connsiteY182" fmla="*/ 173887 h 608067"/>
                <a:gd name="connsiteX183" fmla="*/ 16462 w 572723"/>
                <a:gd name="connsiteY183" fmla="*/ 194944 h 608067"/>
                <a:gd name="connsiteX184" fmla="*/ 17465 w 572723"/>
                <a:gd name="connsiteY184" fmla="*/ 206977 h 608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</a:cxnLst>
              <a:rect l="l" t="t" r="r" b="b"/>
              <a:pathLst>
                <a:path w="572723" h="608067">
                  <a:moveTo>
                    <a:pt x="17465" y="206977"/>
                  </a:moveTo>
                  <a:lnTo>
                    <a:pt x="15460" y="213996"/>
                  </a:lnTo>
                  <a:cubicBezTo>
                    <a:pt x="20474" y="189931"/>
                    <a:pt x="29501" y="165865"/>
                    <a:pt x="40533" y="142802"/>
                  </a:cubicBezTo>
                  <a:cubicBezTo>
                    <a:pt x="25489" y="165865"/>
                    <a:pt x="12451" y="194944"/>
                    <a:pt x="6433" y="223020"/>
                  </a:cubicBezTo>
                  <a:cubicBezTo>
                    <a:pt x="415" y="251097"/>
                    <a:pt x="1418" y="279173"/>
                    <a:pt x="8439" y="300230"/>
                  </a:cubicBezTo>
                  <a:cubicBezTo>
                    <a:pt x="4427" y="302236"/>
                    <a:pt x="1418" y="317277"/>
                    <a:pt x="415" y="331315"/>
                  </a:cubicBezTo>
                  <a:cubicBezTo>
                    <a:pt x="-588" y="345353"/>
                    <a:pt x="415" y="359391"/>
                    <a:pt x="1418" y="359391"/>
                  </a:cubicBezTo>
                  <a:cubicBezTo>
                    <a:pt x="4427" y="370421"/>
                    <a:pt x="7436" y="381451"/>
                    <a:pt x="10445" y="392481"/>
                  </a:cubicBezTo>
                  <a:cubicBezTo>
                    <a:pt x="8439" y="384459"/>
                    <a:pt x="6433" y="377440"/>
                    <a:pt x="4427" y="369418"/>
                  </a:cubicBezTo>
                  <a:cubicBezTo>
                    <a:pt x="6433" y="376438"/>
                    <a:pt x="8439" y="384459"/>
                    <a:pt x="10445" y="392481"/>
                  </a:cubicBezTo>
                  <a:cubicBezTo>
                    <a:pt x="15460" y="409527"/>
                    <a:pt x="21477" y="427577"/>
                    <a:pt x="29501" y="445626"/>
                  </a:cubicBezTo>
                  <a:cubicBezTo>
                    <a:pt x="37524" y="463675"/>
                    <a:pt x="47553" y="480721"/>
                    <a:pt x="60592" y="496765"/>
                  </a:cubicBezTo>
                  <a:cubicBezTo>
                    <a:pt x="86668" y="527849"/>
                    <a:pt x="120768" y="551915"/>
                    <a:pt x="156873" y="569964"/>
                  </a:cubicBezTo>
                  <a:cubicBezTo>
                    <a:pt x="176932" y="579991"/>
                    <a:pt x="216047" y="594029"/>
                    <a:pt x="257167" y="601048"/>
                  </a:cubicBezTo>
                  <a:cubicBezTo>
                    <a:pt x="278229" y="605059"/>
                    <a:pt x="299291" y="607064"/>
                    <a:pt x="317343" y="608067"/>
                  </a:cubicBezTo>
                  <a:cubicBezTo>
                    <a:pt x="336399" y="608067"/>
                    <a:pt x="353449" y="608067"/>
                    <a:pt x="364481" y="607064"/>
                  </a:cubicBezTo>
                  <a:cubicBezTo>
                    <a:pt x="371502" y="606062"/>
                    <a:pt x="378522" y="606062"/>
                    <a:pt x="385543" y="604056"/>
                  </a:cubicBezTo>
                  <a:cubicBezTo>
                    <a:pt x="373508" y="606062"/>
                    <a:pt x="373508" y="605059"/>
                    <a:pt x="362475" y="606062"/>
                  </a:cubicBezTo>
                  <a:cubicBezTo>
                    <a:pt x="390558" y="600045"/>
                    <a:pt x="415631" y="591021"/>
                    <a:pt x="438699" y="578988"/>
                  </a:cubicBezTo>
                  <a:cubicBezTo>
                    <a:pt x="433684" y="579991"/>
                    <a:pt x="432681" y="578988"/>
                    <a:pt x="422652" y="580994"/>
                  </a:cubicBezTo>
                  <a:cubicBezTo>
                    <a:pt x="426664" y="579991"/>
                    <a:pt x="430675" y="578988"/>
                    <a:pt x="434687" y="576983"/>
                  </a:cubicBezTo>
                  <a:cubicBezTo>
                    <a:pt x="444716" y="569964"/>
                    <a:pt x="467784" y="555925"/>
                    <a:pt x="476810" y="546901"/>
                  </a:cubicBezTo>
                  <a:cubicBezTo>
                    <a:pt x="475807" y="549909"/>
                    <a:pt x="483831" y="543893"/>
                    <a:pt x="490852" y="537876"/>
                  </a:cubicBezTo>
                  <a:lnTo>
                    <a:pt x="487843" y="538879"/>
                  </a:lnTo>
                  <a:cubicBezTo>
                    <a:pt x="500881" y="527849"/>
                    <a:pt x="512916" y="513811"/>
                    <a:pt x="521943" y="498770"/>
                  </a:cubicBezTo>
                  <a:cubicBezTo>
                    <a:pt x="530969" y="483729"/>
                    <a:pt x="537989" y="467686"/>
                    <a:pt x="543004" y="454650"/>
                  </a:cubicBezTo>
                  <a:cubicBezTo>
                    <a:pt x="544007" y="450639"/>
                    <a:pt x="546013" y="448634"/>
                    <a:pt x="547016" y="446628"/>
                  </a:cubicBezTo>
                  <a:cubicBezTo>
                    <a:pt x="549022" y="437604"/>
                    <a:pt x="552031" y="428579"/>
                    <a:pt x="553033" y="419555"/>
                  </a:cubicBezTo>
                  <a:cubicBezTo>
                    <a:pt x="555039" y="422563"/>
                    <a:pt x="560054" y="397495"/>
                    <a:pt x="559051" y="411533"/>
                  </a:cubicBezTo>
                  <a:cubicBezTo>
                    <a:pt x="561057" y="390476"/>
                    <a:pt x="566072" y="371424"/>
                    <a:pt x="566072" y="352372"/>
                  </a:cubicBezTo>
                  <a:cubicBezTo>
                    <a:pt x="571086" y="319282"/>
                    <a:pt x="575098" y="283184"/>
                    <a:pt x="571086" y="246083"/>
                  </a:cubicBezTo>
                  <a:cubicBezTo>
                    <a:pt x="567075" y="208982"/>
                    <a:pt x="552031" y="171881"/>
                    <a:pt x="528963" y="144808"/>
                  </a:cubicBezTo>
                  <a:lnTo>
                    <a:pt x="528963" y="146813"/>
                  </a:lnTo>
                  <a:cubicBezTo>
                    <a:pt x="512916" y="127762"/>
                    <a:pt x="493860" y="114726"/>
                    <a:pt x="469790" y="96677"/>
                  </a:cubicBezTo>
                  <a:cubicBezTo>
                    <a:pt x="459760" y="91663"/>
                    <a:pt x="447725" y="86650"/>
                    <a:pt x="437696" y="83642"/>
                  </a:cubicBezTo>
                  <a:cubicBezTo>
                    <a:pt x="432681" y="81636"/>
                    <a:pt x="427666" y="80633"/>
                    <a:pt x="422652" y="80633"/>
                  </a:cubicBezTo>
                  <a:cubicBezTo>
                    <a:pt x="418640" y="80633"/>
                    <a:pt x="414628" y="79631"/>
                    <a:pt x="412622" y="80633"/>
                  </a:cubicBezTo>
                  <a:cubicBezTo>
                    <a:pt x="406605" y="79631"/>
                    <a:pt x="401590" y="78628"/>
                    <a:pt x="397578" y="77625"/>
                  </a:cubicBezTo>
                  <a:cubicBezTo>
                    <a:pt x="392564" y="77625"/>
                    <a:pt x="388552" y="76623"/>
                    <a:pt x="384540" y="76623"/>
                  </a:cubicBezTo>
                  <a:cubicBezTo>
                    <a:pt x="380528" y="76623"/>
                    <a:pt x="376517" y="76623"/>
                    <a:pt x="372505" y="76623"/>
                  </a:cubicBezTo>
                  <a:cubicBezTo>
                    <a:pt x="368493" y="76623"/>
                    <a:pt x="363478" y="76623"/>
                    <a:pt x="357461" y="77625"/>
                  </a:cubicBezTo>
                  <a:cubicBezTo>
                    <a:pt x="360470" y="78628"/>
                    <a:pt x="355455" y="79631"/>
                    <a:pt x="350440" y="80633"/>
                  </a:cubicBezTo>
                  <a:cubicBezTo>
                    <a:pt x="346429" y="81636"/>
                    <a:pt x="341414" y="82639"/>
                    <a:pt x="347431" y="82639"/>
                  </a:cubicBezTo>
                  <a:cubicBezTo>
                    <a:pt x="361473" y="85647"/>
                    <a:pt x="362475" y="82639"/>
                    <a:pt x="374511" y="85647"/>
                  </a:cubicBezTo>
                  <a:lnTo>
                    <a:pt x="374511" y="84644"/>
                  </a:lnTo>
                  <a:cubicBezTo>
                    <a:pt x="402593" y="88655"/>
                    <a:pt x="428669" y="99685"/>
                    <a:pt x="451737" y="115729"/>
                  </a:cubicBezTo>
                  <a:cubicBezTo>
                    <a:pt x="474804" y="131772"/>
                    <a:pt x="494863" y="151827"/>
                    <a:pt x="507901" y="175892"/>
                  </a:cubicBezTo>
                  <a:cubicBezTo>
                    <a:pt x="518934" y="190933"/>
                    <a:pt x="525954" y="208982"/>
                    <a:pt x="528963" y="228034"/>
                  </a:cubicBezTo>
                  <a:cubicBezTo>
                    <a:pt x="532975" y="247086"/>
                    <a:pt x="532975" y="268143"/>
                    <a:pt x="531972" y="288198"/>
                  </a:cubicBezTo>
                  <a:cubicBezTo>
                    <a:pt x="530969" y="310258"/>
                    <a:pt x="527960" y="334323"/>
                    <a:pt x="524951" y="357386"/>
                  </a:cubicBezTo>
                  <a:cubicBezTo>
                    <a:pt x="521943" y="380448"/>
                    <a:pt x="518934" y="402508"/>
                    <a:pt x="513919" y="420557"/>
                  </a:cubicBezTo>
                  <a:cubicBezTo>
                    <a:pt x="511913" y="429582"/>
                    <a:pt x="507901" y="434596"/>
                    <a:pt x="503890" y="441615"/>
                  </a:cubicBezTo>
                  <a:cubicBezTo>
                    <a:pt x="497872" y="457658"/>
                    <a:pt x="489849" y="474705"/>
                    <a:pt x="477813" y="489746"/>
                  </a:cubicBezTo>
                  <a:cubicBezTo>
                    <a:pt x="465778" y="504786"/>
                    <a:pt x="450734" y="517822"/>
                    <a:pt x="434687" y="527849"/>
                  </a:cubicBezTo>
                  <a:cubicBezTo>
                    <a:pt x="435690" y="527849"/>
                    <a:pt x="435690" y="526846"/>
                    <a:pt x="436693" y="526846"/>
                  </a:cubicBezTo>
                  <a:cubicBezTo>
                    <a:pt x="419643" y="536874"/>
                    <a:pt x="404599" y="540885"/>
                    <a:pt x="385543" y="545898"/>
                  </a:cubicBezTo>
                  <a:cubicBezTo>
                    <a:pt x="385543" y="546901"/>
                    <a:pt x="382534" y="547904"/>
                    <a:pt x="381531" y="547904"/>
                  </a:cubicBezTo>
                  <a:cubicBezTo>
                    <a:pt x="380528" y="546901"/>
                    <a:pt x="372505" y="548906"/>
                    <a:pt x="361473" y="550912"/>
                  </a:cubicBezTo>
                  <a:cubicBezTo>
                    <a:pt x="350440" y="552917"/>
                    <a:pt x="335396" y="554923"/>
                    <a:pt x="320352" y="556928"/>
                  </a:cubicBezTo>
                  <a:cubicBezTo>
                    <a:pt x="289261" y="558934"/>
                    <a:pt x="257167" y="555925"/>
                    <a:pt x="254158" y="553920"/>
                  </a:cubicBezTo>
                  <a:cubicBezTo>
                    <a:pt x="252152" y="553920"/>
                    <a:pt x="250147" y="552917"/>
                    <a:pt x="247138" y="552917"/>
                  </a:cubicBezTo>
                  <a:cubicBezTo>
                    <a:pt x="226076" y="547904"/>
                    <a:pt x="204012" y="539882"/>
                    <a:pt x="184956" y="529855"/>
                  </a:cubicBezTo>
                  <a:cubicBezTo>
                    <a:pt x="165900" y="520830"/>
                    <a:pt x="148850" y="509800"/>
                    <a:pt x="133806" y="500776"/>
                  </a:cubicBezTo>
                  <a:cubicBezTo>
                    <a:pt x="126785" y="497767"/>
                    <a:pt x="118762" y="493756"/>
                    <a:pt x="112744" y="490748"/>
                  </a:cubicBezTo>
                  <a:cubicBezTo>
                    <a:pt x="108733" y="485735"/>
                    <a:pt x="105724" y="486737"/>
                    <a:pt x="100709" y="480721"/>
                  </a:cubicBezTo>
                  <a:cubicBezTo>
                    <a:pt x="91682" y="462672"/>
                    <a:pt x="84662" y="454650"/>
                    <a:pt x="87671" y="464677"/>
                  </a:cubicBezTo>
                  <a:cubicBezTo>
                    <a:pt x="76638" y="452645"/>
                    <a:pt x="69618" y="438607"/>
                    <a:pt x="64603" y="425571"/>
                  </a:cubicBezTo>
                  <a:cubicBezTo>
                    <a:pt x="61594" y="419555"/>
                    <a:pt x="58586" y="413538"/>
                    <a:pt x="56580" y="407522"/>
                  </a:cubicBezTo>
                  <a:cubicBezTo>
                    <a:pt x="54574" y="402508"/>
                    <a:pt x="54574" y="398498"/>
                    <a:pt x="55577" y="395489"/>
                  </a:cubicBezTo>
                  <a:cubicBezTo>
                    <a:pt x="51565" y="381451"/>
                    <a:pt x="53571" y="385462"/>
                    <a:pt x="51565" y="369418"/>
                  </a:cubicBezTo>
                  <a:cubicBezTo>
                    <a:pt x="52568" y="367413"/>
                    <a:pt x="49559" y="357386"/>
                    <a:pt x="47553" y="347359"/>
                  </a:cubicBezTo>
                  <a:cubicBezTo>
                    <a:pt x="45548" y="337331"/>
                    <a:pt x="43542" y="327304"/>
                    <a:pt x="43542" y="325299"/>
                  </a:cubicBezTo>
                  <a:lnTo>
                    <a:pt x="43542" y="328307"/>
                  </a:lnTo>
                  <a:cubicBezTo>
                    <a:pt x="42539" y="309255"/>
                    <a:pt x="47553" y="297222"/>
                    <a:pt x="48556" y="280176"/>
                  </a:cubicBezTo>
                  <a:cubicBezTo>
                    <a:pt x="50562" y="255108"/>
                    <a:pt x="54574" y="230040"/>
                    <a:pt x="61594" y="205974"/>
                  </a:cubicBezTo>
                  <a:cubicBezTo>
                    <a:pt x="67612" y="181909"/>
                    <a:pt x="77641" y="158846"/>
                    <a:pt x="89677" y="139794"/>
                  </a:cubicBezTo>
                  <a:cubicBezTo>
                    <a:pt x="87671" y="137789"/>
                    <a:pt x="85665" y="148819"/>
                    <a:pt x="82656" y="147816"/>
                  </a:cubicBezTo>
                  <a:cubicBezTo>
                    <a:pt x="95694" y="123751"/>
                    <a:pt x="113747" y="104699"/>
                    <a:pt x="132803" y="87653"/>
                  </a:cubicBezTo>
                  <a:cubicBezTo>
                    <a:pt x="136815" y="84644"/>
                    <a:pt x="141829" y="82639"/>
                    <a:pt x="143835" y="81636"/>
                  </a:cubicBezTo>
                  <a:cubicBezTo>
                    <a:pt x="150856" y="76623"/>
                    <a:pt x="146844" y="77625"/>
                    <a:pt x="151859" y="74617"/>
                  </a:cubicBezTo>
                  <a:lnTo>
                    <a:pt x="153865" y="75620"/>
                  </a:lnTo>
                  <a:cubicBezTo>
                    <a:pt x="159882" y="68601"/>
                    <a:pt x="165900" y="70606"/>
                    <a:pt x="171917" y="64590"/>
                  </a:cubicBezTo>
                  <a:cubicBezTo>
                    <a:pt x="171917" y="63587"/>
                    <a:pt x="173923" y="61582"/>
                    <a:pt x="176932" y="60579"/>
                  </a:cubicBezTo>
                  <a:cubicBezTo>
                    <a:pt x="177935" y="62584"/>
                    <a:pt x="184956" y="55565"/>
                    <a:pt x="184956" y="58573"/>
                  </a:cubicBezTo>
                  <a:lnTo>
                    <a:pt x="184956" y="58573"/>
                  </a:lnTo>
                  <a:cubicBezTo>
                    <a:pt x="186961" y="57571"/>
                    <a:pt x="187964" y="57571"/>
                    <a:pt x="189970" y="56568"/>
                  </a:cubicBezTo>
                  <a:cubicBezTo>
                    <a:pt x="190973" y="55565"/>
                    <a:pt x="197994" y="49549"/>
                    <a:pt x="206018" y="45538"/>
                  </a:cubicBezTo>
                  <a:cubicBezTo>
                    <a:pt x="213038" y="40524"/>
                    <a:pt x="221062" y="36513"/>
                    <a:pt x="223067" y="35511"/>
                  </a:cubicBezTo>
                  <a:lnTo>
                    <a:pt x="225073" y="35511"/>
                  </a:lnTo>
                  <a:cubicBezTo>
                    <a:pt x="230088" y="34508"/>
                    <a:pt x="231091" y="32503"/>
                    <a:pt x="228082" y="32503"/>
                  </a:cubicBezTo>
                  <a:lnTo>
                    <a:pt x="234100" y="31500"/>
                  </a:lnTo>
                  <a:lnTo>
                    <a:pt x="233097" y="31500"/>
                  </a:lnTo>
                  <a:lnTo>
                    <a:pt x="239114" y="30497"/>
                  </a:lnTo>
                  <a:cubicBezTo>
                    <a:pt x="240117" y="30497"/>
                    <a:pt x="241120" y="31500"/>
                    <a:pt x="240117" y="32503"/>
                  </a:cubicBezTo>
                  <a:cubicBezTo>
                    <a:pt x="243126" y="31500"/>
                    <a:pt x="247138" y="30497"/>
                    <a:pt x="250147" y="30497"/>
                  </a:cubicBezTo>
                  <a:cubicBezTo>
                    <a:pt x="241120" y="30497"/>
                    <a:pt x="229085" y="30497"/>
                    <a:pt x="219056" y="31500"/>
                  </a:cubicBezTo>
                  <a:cubicBezTo>
                    <a:pt x="223067" y="29494"/>
                    <a:pt x="230088" y="29494"/>
                    <a:pt x="234100" y="27489"/>
                  </a:cubicBezTo>
                  <a:cubicBezTo>
                    <a:pt x="237108" y="27489"/>
                    <a:pt x="241120" y="27489"/>
                    <a:pt x="245132" y="27489"/>
                  </a:cubicBezTo>
                  <a:cubicBezTo>
                    <a:pt x="249144" y="27489"/>
                    <a:pt x="254158" y="27489"/>
                    <a:pt x="258170" y="27489"/>
                  </a:cubicBezTo>
                  <a:cubicBezTo>
                    <a:pt x="260176" y="27489"/>
                    <a:pt x="261179" y="24481"/>
                    <a:pt x="265191" y="25483"/>
                  </a:cubicBezTo>
                  <a:cubicBezTo>
                    <a:pt x="267196" y="27489"/>
                    <a:pt x="270205" y="25483"/>
                    <a:pt x="273214" y="26486"/>
                  </a:cubicBezTo>
                  <a:cubicBezTo>
                    <a:pt x="269202" y="27489"/>
                    <a:pt x="265191" y="27489"/>
                    <a:pt x="261179" y="27489"/>
                  </a:cubicBezTo>
                  <a:cubicBezTo>
                    <a:pt x="261179" y="28492"/>
                    <a:pt x="264188" y="28492"/>
                    <a:pt x="266194" y="28492"/>
                  </a:cubicBezTo>
                  <a:cubicBezTo>
                    <a:pt x="269202" y="28492"/>
                    <a:pt x="272211" y="28492"/>
                    <a:pt x="273214" y="28492"/>
                  </a:cubicBezTo>
                  <a:cubicBezTo>
                    <a:pt x="274217" y="27489"/>
                    <a:pt x="282240" y="28492"/>
                    <a:pt x="287255" y="28492"/>
                  </a:cubicBezTo>
                  <a:cubicBezTo>
                    <a:pt x="285249" y="30497"/>
                    <a:pt x="291267" y="30497"/>
                    <a:pt x="293273" y="31500"/>
                  </a:cubicBezTo>
                  <a:cubicBezTo>
                    <a:pt x="296282" y="31500"/>
                    <a:pt x="298288" y="31500"/>
                    <a:pt x="297285" y="30497"/>
                  </a:cubicBezTo>
                  <a:cubicBezTo>
                    <a:pt x="298288" y="28492"/>
                    <a:pt x="285249" y="27489"/>
                    <a:pt x="289261" y="25483"/>
                  </a:cubicBezTo>
                  <a:cubicBezTo>
                    <a:pt x="290264" y="26486"/>
                    <a:pt x="296282" y="26486"/>
                    <a:pt x="300294" y="27489"/>
                  </a:cubicBezTo>
                  <a:cubicBezTo>
                    <a:pt x="300294" y="26486"/>
                    <a:pt x="298288" y="26486"/>
                    <a:pt x="300294" y="25483"/>
                  </a:cubicBezTo>
                  <a:cubicBezTo>
                    <a:pt x="304305" y="26486"/>
                    <a:pt x="308317" y="25483"/>
                    <a:pt x="310323" y="27489"/>
                  </a:cubicBezTo>
                  <a:cubicBezTo>
                    <a:pt x="309320" y="27489"/>
                    <a:pt x="308317" y="27489"/>
                    <a:pt x="307314" y="26486"/>
                  </a:cubicBezTo>
                  <a:cubicBezTo>
                    <a:pt x="309320" y="27489"/>
                    <a:pt x="302299" y="27489"/>
                    <a:pt x="296282" y="28492"/>
                  </a:cubicBezTo>
                  <a:cubicBezTo>
                    <a:pt x="289261" y="29494"/>
                    <a:pt x="283243" y="31500"/>
                    <a:pt x="286252" y="30497"/>
                  </a:cubicBezTo>
                  <a:cubicBezTo>
                    <a:pt x="285249" y="30497"/>
                    <a:pt x="292270" y="28492"/>
                    <a:pt x="299291" y="27489"/>
                  </a:cubicBezTo>
                  <a:cubicBezTo>
                    <a:pt x="306311" y="27489"/>
                    <a:pt x="313332" y="26486"/>
                    <a:pt x="311326" y="26486"/>
                  </a:cubicBezTo>
                  <a:cubicBezTo>
                    <a:pt x="308317" y="25483"/>
                    <a:pt x="314335" y="24481"/>
                    <a:pt x="311326" y="23478"/>
                  </a:cubicBezTo>
                  <a:lnTo>
                    <a:pt x="307314" y="24481"/>
                  </a:lnTo>
                  <a:cubicBezTo>
                    <a:pt x="303302" y="23478"/>
                    <a:pt x="302299" y="20470"/>
                    <a:pt x="303302" y="20470"/>
                  </a:cubicBezTo>
                  <a:cubicBezTo>
                    <a:pt x="307314" y="21473"/>
                    <a:pt x="301297" y="22475"/>
                    <a:pt x="296282" y="23478"/>
                  </a:cubicBezTo>
                  <a:cubicBezTo>
                    <a:pt x="291267" y="24481"/>
                    <a:pt x="285249" y="26486"/>
                    <a:pt x="288258" y="25483"/>
                  </a:cubicBezTo>
                  <a:lnTo>
                    <a:pt x="286252" y="24481"/>
                  </a:lnTo>
                  <a:cubicBezTo>
                    <a:pt x="289261" y="24481"/>
                    <a:pt x="296282" y="23478"/>
                    <a:pt x="298288" y="25483"/>
                  </a:cubicBezTo>
                  <a:cubicBezTo>
                    <a:pt x="298288" y="24481"/>
                    <a:pt x="302299" y="24481"/>
                    <a:pt x="305308" y="24481"/>
                  </a:cubicBezTo>
                  <a:lnTo>
                    <a:pt x="306311" y="24481"/>
                  </a:lnTo>
                  <a:cubicBezTo>
                    <a:pt x="309320" y="24481"/>
                    <a:pt x="313332" y="25483"/>
                    <a:pt x="312329" y="23478"/>
                  </a:cubicBezTo>
                  <a:cubicBezTo>
                    <a:pt x="303302" y="22475"/>
                    <a:pt x="307314" y="19467"/>
                    <a:pt x="310323" y="16459"/>
                  </a:cubicBezTo>
                  <a:cubicBezTo>
                    <a:pt x="314335" y="13451"/>
                    <a:pt x="318346" y="11445"/>
                    <a:pt x="309320" y="9440"/>
                  </a:cubicBezTo>
                  <a:cubicBezTo>
                    <a:pt x="316341" y="13451"/>
                    <a:pt x="306311" y="11445"/>
                    <a:pt x="298288" y="10443"/>
                  </a:cubicBezTo>
                  <a:cubicBezTo>
                    <a:pt x="297285" y="9440"/>
                    <a:pt x="294276" y="7434"/>
                    <a:pt x="288258" y="6432"/>
                  </a:cubicBezTo>
                  <a:cubicBezTo>
                    <a:pt x="283243" y="6432"/>
                    <a:pt x="285249" y="7434"/>
                    <a:pt x="284246" y="7434"/>
                  </a:cubicBezTo>
                  <a:cubicBezTo>
                    <a:pt x="281238" y="6432"/>
                    <a:pt x="276223" y="6432"/>
                    <a:pt x="277226" y="4426"/>
                  </a:cubicBezTo>
                  <a:cubicBezTo>
                    <a:pt x="273214" y="6432"/>
                    <a:pt x="271208" y="3424"/>
                    <a:pt x="266194" y="4426"/>
                  </a:cubicBezTo>
                  <a:cubicBezTo>
                    <a:pt x="262182" y="5429"/>
                    <a:pt x="266194" y="5429"/>
                    <a:pt x="263185" y="6432"/>
                  </a:cubicBezTo>
                  <a:cubicBezTo>
                    <a:pt x="257167" y="6432"/>
                    <a:pt x="248141" y="7434"/>
                    <a:pt x="243126" y="7434"/>
                  </a:cubicBezTo>
                  <a:cubicBezTo>
                    <a:pt x="241120" y="6432"/>
                    <a:pt x="235103" y="5429"/>
                    <a:pt x="239114" y="2421"/>
                  </a:cubicBezTo>
                  <a:cubicBezTo>
                    <a:pt x="249144" y="1418"/>
                    <a:pt x="236106" y="6432"/>
                    <a:pt x="246135" y="4426"/>
                  </a:cubicBezTo>
                  <a:cubicBezTo>
                    <a:pt x="241120" y="2421"/>
                    <a:pt x="255161" y="2421"/>
                    <a:pt x="256164" y="415"/>
                  </a:cubicBezTo>
                  <a:cubicBezTo>
                    <a:pt x="253155" y="-587"/>
                    <a:pt x="246135" y="415"/>
                    <a:pt x="241120" y="1418"/>
                  </a:cubicBezTo>
                  <a:lnTo>
                    <a:pt x="242123" y="1418"/>
                  </a:lnTo>
                  <a:cubicBezTo>
                    <a:pt x="237108" y="2421"/>
                    <a:pt x="228082" y="5429"/>
                    <a:pt x="222064" y="4426"/>
                  </a:cubicBezTo>
                  <a:cubicBezTo>
                    <a:pt x="223067" y="3424"/>
                    <a:pt x="221062" y="2421"/>
                    <a:pt x="224070" y="1418"/>
                  </a:cubicBezTo>
                  <a:lnTo>
                    <a:pt x="217050" y="2421"/>
                  </a:lnTo>
                  <a:cubicBezTo>
                    <a:pt x="216047" y="3424"/>
                    <a:pt x="215044" y="3424"/>
                    <a:pt x="217050" y="3424"/>
                  </a:cubicBezTo>
                  <a:cubicBezTo>
                    <a:pt x="214041" y="5429"/>
                    <a:pt x="211032" y="5429"/>
                    <a:pt x="208023" y="5429"/>
                  </a:cubicBezTo>
                  <a:cubicBezTo>
                    <a:pt x="207020" y="5429"/>
                    <a:pt x="198997" y="8437"/>
                    <a:pt x="191976" y="13451"/>
                  </a:cubicBezTo>
                  <a:cubicBezTo>
                    <a:pt x="183953" y="17462"/>
                    <a:pt x="176932" y="22475"/>
                    <a:pt x="177935" y="22475"/>
                  </a:cubicBezTo>
                  <a:cubicBezTo>
                    <a:pt x="173923" y="24481"/>
                    <a:pt x="171917" y="23478"/>
                    <a:pt x="167906" y="26486"/>
                  </a:cubicBezTo>
                  <a:cubicBezTo>
                    <a:pt x="167906" y="26486"/>
                    <a:pt x="169912" y="25483"/>
                    <a:pt x="173923" y="23478"/>
                  </a:cubicBezTo>
                  <a:cubicBezTo>
                    <a:pt x="177935" y="21473"/>
                    <a:pt x="181947" y="18464"/>
                    <a:pt x="186961" y="15456"/>
                  </a:cubicBezTo>
                  <a:cubicBezTo>
                    <a:pt x="191976" y="13451"/>
                    <a:pt x="195988" y="10443"/>
                    <a:pt x="200000" y="8437"/>
                  </a:cubicBezTo>
                  <a:cubicBezTo>
                    <a:pt x="203009" y="7434"/>
                    <a:pt x="205015" y="6432"/>
                    <a:pt x="203009" y="6432"/>
                  </a:cubicBezTo>
                  <a:cubicBezTo>
                    <a:pt x="202006" y="6432"/>
                    <a:pt x="197994" y="7434"/>
                    <a:pt x="192979" y="10443"/>
                  </a:cubicBezTo>
                  <a:cubicBezTo>
                    <a:pt x="187964" y="12448"/>
                    <a:pt x="181947" y="16459"/>
                    <a:pt x="175929" y="19467"/>
                  </a:cubicBezTo>
                  <a:cubicBezTo>
                    <a:pt x="169912" y="22475"/>
                    <a:pt x="164897" y="26486"/>
                    <a:pt x="159882" y="29494"/>
                  </a:cubicBezTo>
                  <a:cubicBezTo>
                    <a:pt x="155871" y="32503"/>
                    <a:pt x="152862" y="34508"/>
                    <a:pt x="151859" y="34508"/>
                  </a:cubicBezTo>
                  <a:cubicBezTo>
                    <a:pt x="148850" y="36513"/>
                    <a:pt x="145841" y="39522"/>
                    <a:pt x="146844" y="39522"/>
                  </a:cubicBezTo>
                  <a:cubicBezTo>
                    <a:pt x="141829" y="42530"/>
                    <a:pt x="146844" y="36513"/>
                    <a:pt x="142832" y="38519"/>
                  </a:cubicBezTo>
                  <a:cubicBezTo>
                    <a:pt x="142832" y="38519"/>
                    <a:pt x="143835" y="38519"/>
                    <a:pt x="141829" y="39522"/>
                  </a:cubicBezTo>
                  <a:cubicBezTo>
                    <a:pt x="140827" y="39522"/>
                    <a:pt x="138821" y="40524"/>
                    <a:pt x="137818" y="40524"/>
                  </a:cubicBezTo>
                  <a:cubicBezTo>
                    <a:pt x="134809" y="44535"/>
                    <a:pt x="129794" y="47543"/>
                    <a:pt x="124780" y="50552"/>
                  </a:cubicBezTo>
                  <a:cubicBezTo>
                    <a:pt x="120768" y="54563"/>
                    <a:pt x="115753" y="58573"/>
                    <a:pt x="112744" y="62584"/>
                  </a:cubicBezTo>
                  <a:cubicBezTo>
                    <a:pt x="113747" y="59576"/>
                    <a:pt x="114750" y="55565"/>
                    <a:pt x="118762" y="50552"/>
                  </a:cubicBezTo>
                  <a:lnTo>
                    <a:pt x="119765" y="50552"/>
                  </a:lnTo>
                  <a:cubicBezTo>
                    <a:pt x="119765" y="49549"/>
                    <a:pt x="123777" y="45538"/>
                    <a:pt x="122774" y="45538"/>
                  </a:cubicBezTo>
                  <a:cubicBezTo>
                    <a:pt x="117759" y="48546"/>
                    <a:pt x="113747" y="52557"/>
                    <a:pt x="109736" y="57571"/>
                  </a:cubicBezTo>
                  <a:cubicBezTo>
                    <a:pt x="108733" y="58573"/>
                    <a:pt x="107730" y="58573"/>
                    <a:pt x="106727" y="59576"/>
                  </a:cubicBezTo>
                  <a:cubicBezTo>
                    <a:pt x="106727" y="59576"/>
                    <a:pt x="106727" y="59576"/>
                    <a:pt x="106727" y="59576"/>
                  </a:cubicBezTo>
                  <a:cubicBezTo>
                    <a:pt x="104721" y="60579"/>
                    <a:pt x="104721" y="60579"/>
                    <a:pt x="104721" y="59576"/>
                  </a:cubicBezTo>
                  <a:cubicBezTo>
                    <a:pt x="104721" y="59576"/>
                    <a:pt x="104721" y="59576"/>
                    <a:pt x="104721" y="58573"/>
                  </a:cubicBezTo>
                  <a:cubicBezTo>
                    <a:pt x="101712" y="58573"/>
                    <a:pt x="98703" y="63587"/>
                    <a:pt x="93688" y="68601"/>
                  </a:cubicBezTo>
                  <a:cubicBezTo>
                    <a:pt x="89677" y="74617"/>
                    <a:pt x="84662" y="80633"/>
                    <a:pt x="80650" y="84644"/>
                  </a:cubicBezTo>
                  <a:cubicBezTo>
                    <a:pt x="78644" y="87653"/>
                    <a:pt x="80650" y="85647"/>
                    <a:pt x="78644" y="88655"/>
                  </a:cubicBezTo>
                  <a:cubicBezTo>
                    <a:pt x="70621" y="96677"/>
                    <a:pt x="65606" y="102693"/>
                    <a:pt x="58586" y="112721"/>
                  </a:cubicBezTo>
                  <a:cubicBezTo>
                    <a:pt x="57583" y="116732"/>
                    <a:pt x="58586" y="117734"/>
                    <a:pt x="61594" y="113723"/>
                  </a:cubicBezTo>
                  <a:lnTo>
                    <a:pt x="56580" y="121745"/>
                  </a:lnTo>
                  <a:cubicBezTo>
                    <a:pt x="56580" y="117734"/>
                    <a:pt x="53571" y="120742"/>
                    <a:pt x="51565" y="123751"/>
                  </a:cubicBezTo>
                  <a:cubicBezTo>
                    <a:pt x="48556" y="126759"/>
                    <a:pt x="46550" y="129767"/>
                    <a:pt x="46550" y="124753"/>
                  </a:cubicBezTo>
                  <a:cubicBezTo>
                    <a:pt x="44545" y="126759"/>
                    <a:pt x="41536" y="131772"/>
                    <a:pt x="40533" y="136786"/>
                  </a:cubicBezTo>
                  <a:cubicBezTo>
                    <a:pt x="41536" y="137789"/>
                    <a:pt x="42539" y="138792"/>
                    <a:pt x="39530" y="144808"/>
                  </a:cubicBezTo>
                  <a:cubicBezTo>
                    <a:pt x="34515" y="152830"/>
                    <a:pt x="35518" y="150824"/>
                    <a:pt x="31506" y="156841"/>
                  </a:cubicBezTo>
                  <a:cubicBezTo>
                    <a:pt x="29501" y="157843"/>
                    <a:pt x="30504" y="154835"/>
                    <a:pt x="29501" y="154835"/>
                  </a:cubicBezTo>
                  <a:cubicBezTo>
                    <a:pt x="27495" y="165865"/>
                    <a:pt x="23483" y="162857"/>
                    <a:pt x="19471" y="173887"/>
                  </a:cubicBezTo>
                  <a:cubicBezTo>
                    <a:pt x="17465" y="180906"/>
                    <a:pt x="14457" y="193941"/>
                    <a:pt x="16462" y="194944"/>
                  </a:cubicBezTo>
                  <a:cubicBezTo>
                    <a:pt x="20474" y="208982"/>
                    <a:pt x="19471" y="208982"/>
                    <a:pt x="17465" y="206977"/>
                  </a:cubicBezTo>
                  <a:close/>
                </a:path>
              </a:pathLst>
            </a:custGeom>
            <a:solidFill>
              <a:srgbClr val="154573"/>
            </a:solidFill>
            <a:ln w="100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 sz="1800"/>
            </a:p>
          </p:txBody>
        </p:sp>
      </p:grpSp>
      <p:sp>
        <p:nvSpPr>
          <p:cNvPr id="30" name="Pladsholder til tekst 2">
            <a:extLst>
              <a:ext uri="{FF2B5EF4-FFF2-40B4-BE49-F238E27FC236}">
                <a16:creationId xmlns:a16="http://schemas.microsoft.com/office/drawing/2014/main" id="{C9B57B85-8770-0841-BB19-40B75169508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179800" y="3092044"/>
            <a:ext cx="9097800" cy="608067"/>
          </a:xfr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2800"/>
            </a:lvl1pPr>
            <a:lvl3pPr marL="914423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  <p:sp>
        <p:nvSpPr>
          <p:cNvPr id="31" name="Pladsholder til tekst 2">
            <a:extLst>
              <a:ext uri="{FF2B5EF4-FFF2-40B4-BE49-F238E27FC236}">
                <a16:creationId xmlns:a16="http://schemas.microsoft.com/office/drawing/2014/main" id="{E73C8752-A2E0-DC45-8EBA-D15AECFCAA4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79800" y="3934444"/>
            <a:ext cx="9097800" cy="608067"/>
          </a:xfr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2800"/>
            </a:lvl1pPr>
            <a:lvl3pPr marL="914423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  <p:sp>
        <p:nvSpPr>
          <p:cNvPr id="32" name="Pladsholder til tekst 2">
            <a:extLst>
              <a:ext uri="{FF2B5EF4-FFF2-40B4-BE49-F238E27FC236}">
                <a16:creationId xmlns:a16="http://schemas.microsoft.com/office/drawing/2014/main" id="{11E4C019-7294-044A-AF7C-F1E2E2E2198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79800" y="4776844"/>
            <a:ext cx="9097800" cy="608067"/>
          </a:xfr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2800"/>
            </a:lvl1pPr>
            <a:lvl3pPr marL="914423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  <p:sp>
        <p:nvSpPr>
          <p:cNvPr id="33" name="Pladsholder til tekst 2">
            <a:extLst>
              <a:ext uri="{FF2B5EF4-FFF2-40B4-BE49-F238E27FC236}">
                <a16:creationId xmlns:a16="http://schemas.microsoft.com/office/drawing/2014/main" id="{2893B3F6-3C9F-6B4F-BD6D-9C63D898DF4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179800" y="5619244"/>
            <a:ext cx="9097800" cy="608067"/>
          </a:xfr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2800"/>
            </a:lvl1pPr>
            <a:lvl3pPr marL="914423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</p:spTree>
    <p:extLst>
      <p:ext uri="{BB962C8B-B14F-4D97-AF65-F5344CB8AC3E}">
        <p14:creationId xmlns:p14="http://schemas.microsoft.com/office/powerpoint/2010/main" val="26536862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500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rugerdefinere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70563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2" imgH="533" progId="TCLayout.ActiveDocument.1">
                  <p:embed/>
                </p:oleObj>
              </mc:Choice>
              <mc:Fallback>
                <p:oleObj name="think-cell Slide" r:id="rId4" imgW="532" imgH="533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ktangel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5"/>
          </a:solidFill>
          <a:ln w="15875">
            <a:noFill/>
          </a:ln>
          <a:effectLst>
            <a:outerShdw blurRad="127000" dist="50800" dir="54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da-DK" sz="3100" b="1" i="0" baseline="0">
              <a:latin typeface="Arial" panose="020B0604020202020204" pitchFamily="34" charset="0"/>
              <a:cs typeface="Open Sans Light" panose="020B060402020202020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100"/>
            </a:lvl1pPr>
          </a:lstStyle>
          <a:p>
            <a:r>
              <a:rPr lang="da-DK"/>
              <a:t>Klik for at redigere i master</a:t>
            </a:r>
          </a:p>
        </p:txBody>
      </p:sp>
      <p:sp>
        <p:nvSpPr>
          <p:cNvPr id="3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262972"/>
            <a:ext cx="10363200" cy="198541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4" name="Rectangle 11"/>
          <p:cNvSpPr/>
          <p:nvPr userDrawn="1"/>
        </p:nvSpPr>
        <p:spPr>
          <a:xfrm>
            <a:off x="0" y="1736726"/>
            <a:ext cx="12192000" cy="4321174"/>
          </a:xfrm>
          <a:prstGeom prst="rect">
            <a:avLst/>
          </a:prstGeom>
          <a:solidFill>
            <a:srgbClr val="E5E5E5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43856088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OKU 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5"/>
          <p:cNvSpPr txBox="1">
            <a:spLocks noGrp="1"/>
          </p:cNvSpPr>
          <p:nvPr>
            <p:ph type="body" idx="4294967295"/>
          </p:nvPr>
        </p:nvSpPr>
        <p:spPr>
          <a:xfrm>
            <a:off x="914400" y="688580"/>
            <a:ext cx="10363196" cy="859846"/>
          </a:xfrm>
        </p:spPr>
        <p:txBody>
          <a:bodyPr/>
          <a:lstStyle>
            <a:lvl1pPr marL="0" indent="0">
              <a:buNone/>
              <a:defRPr sz="3000" b="1"/>
            </a:lvl1pPr>
          </a:lstStyle>
          <a:p>
            <a:pPr lvl="0"/>
            <a:r>
              <a:rPr lang="da-DK"/>
              <a:t>Klik for at redigere i overskrift</a:t>
            </a:r>
          </a:p>
        </p:txBody>
      </p:sp>
      <p:sp>
        <p:nvSpPr>
          <p:cNvPr id="3" name="Title Placeholder 1"/>
          <p:cNvSpPr txBox="1">
            <a:spLocks noGrp="1"/>
          </p:cNvSpPr>
          <p:nvPr>
            <p:ph type="title"/>
          </p:nvPr>
        </p:nvSpPr>
        <p:spPr>
          <a:xfrm>
            <a:off x="914400" y="456286"/>
            <a:ext cx="10363196" cy="211921"/>
          </a:xfrm>
        </p:spPr>
        <p:txBody>
          <a:bodyPr wrap="none" anchorCtr="0"/>
          <a:lstStyle>
            <a:lvl1pPr algn="l">
              <a:defRPr sz="1000" b="0"/>
            </a:lvl1pPr>
          </a:lstStyle>
          <a:p>
            <a:pPr lvl="0"/>
            <a:r>
              <a:rPr lang="da-DK"/>
              <a:t>Klik for at redigere i tracker</a:t>
            </a:r>
          </a:p>
        </p:txBody>
      </p:sp>
      <p:sp>
        <p:nvSpPr>
          <p:cNvPr id="4" name="Pladsholder til slidenummer 3"/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5E530F1A-E148-45AD-9E51-893326BE722B}" type="slidenum">
              <a:rPr/>
              <a:t>‹#›</a:t>
            </a:fld>
            <a:endParaRPr lang="da-DK"/>
          </a:p>
        </p:txBody>
      </p:sp>
      <p:sp>
        <p:nvSpPr>
          <p:cNvPr id="5" name="Pladsholder til sidefod 2"/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da-DK"/>
              <a:t>Sidefod på alle sider</a:t>
            </a:r>
          </a:p>
        </p:txBody>
      </p:sp>
    </p:spTree>
    <p:extLst>
      <p:ext uri="{BB962C8B-B14F-4D97-AF65-F5344CB8AC3E}">
        <p14:creationId xmlns:p14="http://schemas.microsoft.com/office/powerpoint/2010/main" val="3780672271"/>
      </p:ext>
    </p:extLst>
  </p:cSld>
  <p:clrMapOvr>
    <a:masterClrMapping/>
  </p:clrMapOvr>
  <p:hf sldNum="0" hdr="0" ftr="0" dt="0"/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27"/>
            <a:ext cx="10363200" cy="1470025"/>
          </a:xfrm>
        </p:spPr>
        <p:txBody>
          <a:bodyPr/>
          <a:lstStyle/>
          <a:p>
            <a:r>
              <a:rPr lang="da-DK"/>
              <a:t>Klik for at redigere i master</a:t>
            </a:r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23" indent="0" algn="ctr">
              <a:buNone/>
              <a:defRPr/>
            </a:lvl2pPr>
            <a:lvl3pPr marL="914446" indent="0" algn="ctr">
              <a:buNone/>
              <a:defRPr/>
            </a:lvl3pPr>
            <a:lvl4pPr marL="1371669" indent="0" algn="ctr">
              <a:buNone/>
              <a:defRPr/>
            </a:lvl4pPr>
            <a:lvl5pPr marL="1828891" indent="0" algn="ctr">
              <a:buNone/>
              <a:defRPr/>
            </a:lvl5pPr>
            <a:lvl6pPr marL="2286114" indent="0" algn="ctr">
              <a:buNone/>
              <a:defRPr/>
            </a:lvl6pPr>
            <a:lvl7pPr marL="2743337" indent="0" algn="ctr">
              <a:buNone/>
              <a:defRPr/>
            </a:lvl7pPr>
            <a:lvl8pPr marL="3200560" indent="0" algn="ctr">
              <a:buNone/>
              <a:defRPr/>
            </a:lvl8pPr>
            <a:lvl9pPr marL="3657783" indent="0" algn="ctr">
              <a:buNone/>
              <a:defRPr/>
            </a:lvl9pPr>
          </a:lstStyle>
          <a:p>
            <a:r>
              <a:rPr lang="da-DK"/>
              <a:t>Klik for at redigere i master</a:t>
            </a:r>
          </a:p>
        </p:txBody>
      </p:sp>
      <p:sp>
        <p:nvSpPr>
          <p:cNvPr id="4" name="Rectangle 8"/>
          <p:cNvSpPr>
            <a:spLocks noGrp="1" noChangeArrowheads="1"/>
          </p:cNvSpPr>
          <p:nvPr>
            <p:ph type="dt" sz="half" idx="10"/>
          </p:nvPr>
        </p:nvSpPr>
        <p:spPr>
          <a:xfrm>
            <a:off x="914400" y="6248400"/>
            <a:ext cx="2540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5" name="Rectangle 9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8400"/>
            <a:ext cx="38608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6" name="Rectangle 10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9347200" y="6284168"/>
            <a:ext cx="2540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1888B9F-7A58-40FC-94C6-DE17AC819CA0}" type="slidenum">
              <a:rPr lang="da-DK"/>
              <a:pPr>
                <a:defRPr/>
              </a:pPr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65173866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baseret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DE115998-8EEC-F14C-8A06-E224BD904D2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0AE144C8-0C64-2E48-BD19-B340504ED30E}"/>
              </a:ext>
            </a:extLst>
          </p:cNvPr>
          <p:cNvSpPr/>
          <p:nvPr userDrawn="1"/>
        </p:nvSpPr>
        <p:spPr>
          <a:xfrm>
            <a:off x="0" y="6714895"/>
            <a:ext cx="12192000" cy="180000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5" name="Tekstfelt 4">
            <a:extLst>
              <a:ext uri="{FF2B5EF4-FFF2-40B4-BE49-F238E27FC236}">
                <a16:creationId xmlns:a16="http://schemas.microsoft.com/office/drawing/2014/main" id="{E1980FE7-9B07-E646-894E-3528B0359370}"/>
              </a:ext>
            </a:extLst>
          </p:cNvPr>
          <p:cNvSpPr txBox="1"/>
          <p:nvPr userDrawn="1"/>
        </p:nvSpPr>
        <p:spPr>
          <a:xfrm>
            <a:off x="793596" y="555208"/>
            <a:ext cx="10604810" cy="5747585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da-DK" sz="11501" b="1">
                <a:solidFill>
                  <a:srgbClr val="FFFFFF"/>
                </a:solidFill>
              </a:rPr>
              <a:t>Tekstbaseret </a:t>
            </a:r>
            <a:br>
              <a:rPr lang="da-DK" sz="11501" b="1">
                <a:solidFill>
                  <a:srgbClr val="FFFFFF"/>
                </a:solidFill>
              </a:rPr>
            </a:br>
            <a:r>
              <a:rPr lang="da-DK" sz="11501" b="1">
                <a:solidFill>
                  <a:srgbClr val="FFFFFF"/>
                </a:solidFill>
              </a:rPr>
              <a:t>indhold</a:t>
            </a:r>
          </a:p>
        </p:txBody>
      </p:sp>
    </p:spTree>
    <p:extLst>
      <p:ext uri="{BB962C8B-B14F-4D97-AF65-F5344CB8AC3E}">
        <p14:creationId xmlns:p14="http://schemas.microsoft.com/office/powerpoint/2010/main" val="246251349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1) Indhold - Fuld tekstbo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688583"/>
            <a:ext cx="10363200" cy="859843"/>
          </a:xfrm>
        </p:spPr>
        <p:txBody>
          <a:bodyPr anchor="t">
            <a:noAutofit/>
          </a:bodyPr>
          <a:lstStyle>
            <a:lvl1pPr marL="0" indent="0" algn="l">
              <a:buNone/>
              <a:defRPr lang="da-DK" sz="3000" b="1" kern="1200" noProof="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i overskrift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sz="quarter" idx="11" hasCustomPrompt="1"/>
          </p:nvPr>
        </p:nvSpPr>
        <p:spPr>
          <a:xfrm>
            <a:off x="914400" y="1736726"/>
            <a:ext cx="10363200" cy="432117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00"/>
            </a:lvl1pPr>
            <a:lvl3pPr marL="914423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B340005-E0B7-A043-B055-7006507B18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456291"/>
            <a:ext cx="10363200" cy="211925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sz="1000" b="0" cap="none" baseline="0">
                <a:solidFill>
                  <a:srgbClr val="164573"/>
                </a:solidFill>
                <a:latin typeface="+mn-lt"/>
              </a:defRPr>
            </a:lvl1pPr>
          </a:lstStyle>
          <a:p>
            <a:r>
              <a:rPr lang="da-DK" noProof="0"/>
              <a:t>Klik for at redigere i </a:t>
            </a:r>
            <a:r>
              <a:rPr lang="da-DK" noProof="0" err="1"/>
              <a:t>tracker</a:t>
            </a:r>
            <a:endParaRPr lang="da-DK" noProof="0"/>
          </a:p>
        </p:txBody>
      </p:sp>
    </p:spTree>
    <p:extLst>
      <p:ext uri="{BB962C8B-B14F-4D97-AF65-F5344CB8AC3E}">
        <p14:creationId xmlns:p14="http://schemas.microsoft.com/office/powerpoint/2010/main" val="254766620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2) Indhold - To tekst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72279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688583"/>
            <a:ext cx="10363200" cy="859843"/>
          </a:xfrm>
        </p:spPr>
        <p:txBody>
          <a:bodyPr anchor="t">
            <a:noAutofit/>
          </a:bodyPr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a-DK" sz="3000" b="1" kern="1200" noProof="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noProof="0"/>
              <a:t>Klik for at redigere i overskrift</a:t>
            </a:r>
          </a:p>
          <a:p>
            <a:pPr lvl="0"/>
            <a:endParaRPr lang="da-DK" noProof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60D2860C-54D8-6E47-8910-BC092C081A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456291"/>
            <a:ext cx="10363200" cy="211925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sz="1000" b="0" cap="none" baseline="0">
                <a:solidFill>
                  <a:srgbClr val="164573"/>
                </a:solidFill>
                <a:latin typeface="+mn-lt"/>
              </a:defRPr>
            </a:lvl1pPr>
          </a:lstStyle>
          <a:p>
            <a:r>
              <a:rPr lang="da-DK" noProof="0"/>
              <a:t>Klik for at redigere i </a:t>
            </a:r>
            <a:r>
              <a:rPr lang="da-DK" noProof="0" err="1"/>
              <a:t>tracker</a:t>
            </a:r>
            <a:endParaRPr lang="da-DK" noProof="0"/>
          </a:p>
        </p:txBody>
      </p:sp>
      <p:sp>
        <p:nvSpPr>
          <p:cNvPr id="13" name="Pladsholder til tekst 2"/>
          <p:cNvSpPr>
            <a:spLocks noGrp="1"/>
          </p:cNvSpPr>
          <p:nvPr>
            <p:ph type="body" sz="quarter" idx="11" hasCustomPrompt="1"/>
          </p:nvPr>
        </p:nvSpPr>
        <p:spPr>
          <a:xfrm>
            <a:off x="914400" y="1736726"/>
            <a:ext cx="4041422" cy="432117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00"/>
            </a:lvl1pPr>
            <a:lvl3pPr marL="914423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  <p:sp>
        <p:nvSpPr>
          <p:cNvPr id="14" name="Pladsholder til tekst 2"/>
          <p:cNvSpPr>
            <a:spLocks noGrp="1"/>
          </p:cNvSpPr>
          <p:nvPr>
            <p:ph type="body" sz="quarter" idx="12" hasCustomPrompt="1"/>
          </p:nvPr>
        </p:nvSpPr>
        <p:spPr>
          <a:xfrm>
            <a:off x="5288844" y="1731082"/>
            <a:ext cx="4041422" cy="432117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00"/>
            </a:lvl1pPr>
            <a:lvl3pPr marL="914423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</p:spTree>
    <p:extLst>
      <p:ext uri="{BB962C8B-B14F-4D97-AF65-F5344CB8AC3E}">
        <p14:creationId xmlns:p14="http://schemas.microsoft.com/office/powerpoint/2010/main" val="269065062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3) Indhold - Ingen tekstbo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688583"/>
            <a:ext cx="10363200" cy="859843"/>
          </a:xfrm>
        </p:spPr>
        <p:txBody>
          <a:bodyPr anchor="t">
            <a:noAutofit/>
          </a:bodyPr>
          <a:lstStyle>
            <a:lvl1pPr marL="0" indent="0" algn="l">
              <a:buNone/>
              <a:defRPr lang="da-DK" sz="3000" b="1" kern="1200" noProof="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i overskrift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60D2860C-54D8-6E47-8910-BC092C081A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456291"/>
            <a:ext cx="10363200" cy="211925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sz="1000" b="0" cap="none" baseline="0">
                <a:solidFill>
                  <a:srgbClr val="164573"/>
                </a:solidFill>
                <a:latin typeface="+mn-lt"/>
              </a:defRPr>
            </a:lvl1pPr>
          </a:lstStyle>
          <a:p>
            <a:r>
              <a:rPr lang="da-DK" noProof="0"/>
              <a:t>Klik for at redigere i </a:t>
            </a:r>
            <a:r>
              <a:rPr lang="da-DK" noProof="0" err="1"/>
              <a:t>tracker</a:t>
            </a:r>
            <a:endParaRPr lang="da-DK" noProof="0"/>
          </a:p>
        </p:txBody>
      </p:sp>
    </p:spTree>
    <p:extLst>
      <p:ext uri="{BB962C8B-B14F-4D97-AF65-F5344CB8AC3E}">
        <p14:creationId xmlns:p14="http://schemas.microsoft.com/office/powerpoint/2010/main" val="218716069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4) Indhold -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iagram 4">
            <a:extLst>
              <a:ext uri="{FF2B5EF4-FFF2-40B4-BE49-F238E27FC236}">
                <a16:creationId xmlns:a16="http://schemas.microsoft.com/office/drawing/2014/main" id="{649C4CD9-CD6F-334F-98E9-4820250EF863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914401" y="655984"/>
            <a:ext cx="10366375" cy="5401917"/>
          </a:xfrm>
        </p:spPr>
        <p:txBody>
          <a:bodyPr/>
          <a:lstStyle>
            <a:lvl1pPr marL="0" indent="0" algn="ctr">
              <a:buNone/>
              <a:defRPr sz="1400"/>
            </a:lvl1pPr>
          </a:lstStyle>
          <a:p>
            <a:r>
              <a:rPr lang="da-DK"/>
              <a:t>Klik på ikonet for at tilføje et diagram</a:t>
            </a:r>
          </a:p>
        </p:txBody>
      </p:sp>
    </p:spTree>
    <p:extLst>
      <p:ext uri="{BB962C8B-B14F-4D97-AF65-F5344CB8AC3E}">
        <p14:creationId xmlns:p14="http://schemas.microsoft.com/office/powerpoint/2010/main" val="365269911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5) Indhold - Tab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tabel 5">
            <a:extLst>
              <a:ext uri="{FF2B5EF4-FFF2-40B4-BE49-F238E27FC236}">
                <a16:creationId xmlns:a16="http://schemas.microsoft.com/office/drawing/2014/main" id="{FAC4DF31-B3FA-AA43-969D-3B3268B15152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914401" y="655984"/>
            <a:ext cx="10366375" cy="5401917"/>
          </a:xfrm>
        </p:spPr>
        <p:txBody>
          <a:bodyPr/>
          <a:lstStyle>
            <a:lvl1pPr marL="0" indent="0" algn="ctr">
              <a:buNone/>
              <a:defRPr sz="1400"/>
            </a:lvl1pPr>
          </a:lstStyle>
          <a:p>
            <a:r>
              <a:rPr lang="da-DK"/>
              <a:t>Klik på ikonet for at tilføje en tabel</a:t>
            </a:r>
          </a:p>
        </p:txBody>
      </p:sp>
    </p:spTree>
    <p:extLst>
      <p:ext uri="{BB962C8B-B14F-4D97-AF65-F5344CB8AC3E}">
        <p14:creationId xmlns:p14="http://schemas.microsoft.com/office/powerpoint/2010/main" val="18847711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imært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DE115998-8EEC-F14C-8A06-E224BD904D2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0AE144C8-0C64-2E48-BD19-B340504ED30E}"/>
              </a:ext>
            </a:extLst>
          </p:cNvPr>
          <p:cNvSpPr/>
          <p:nvPr userDrawn="1"/>
        </p:nvSpPr>
        <p:spPr>
          <a:xfrm>
            <a:off x="0" y="6714895"/>
            <a:ext cx="12192000" cy="180000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3" name="Tekstfelt 2">
            <a:extLst>
              <a:ext uri="{FF2B5EF4-FFF2-40B4-BE49-F238E27FC236}">
                <a16:creationId xmlns:a16="http://schemas.microsoft.com/office/drawing/2014/main" id="{048D68E5-2222-BD40-9A9A-A1FFEB057981}"/>
              </a:ext>
            </a:extLst>
          </p:cNvPr>
          <p:cNvSpPr txBox="1"/>
          <p:nvPr userDrawn="1"/>
        </p:nvSpPr>
        <p:spPr>
          <a:xfrm>
            <a:off x="793596" y="555208"/>
            <a:ext cx="10604810" cy="5747585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da-DK" sz="11501" b="1">
                <a:solidFill>
                  <a:srgbClr val="FFFFFF"/>
                </a:solidFill>
              </a:rPr>
              <a:t>Primært indhold</a:t>
            </a:r>
          </a:p>
        </p:txBody>
      </p:sp>
    </p:spTree>
    <p:extLst>
      <p:ext uri="{BB962C8B-B14F-4D97-AF65-F5344CB8AC3E}">
        <p14:creationId xmlns:p14="http://schemas.microsoft.com/office/powerpoint/2010/main" val="104531085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6) Indhold - 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9499967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yt afsn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DE115998-8EEC-F14C-8A06-E224BD904D2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0AE144C8-0C64-2E48-BD19-B340504ED30E}"/>
              </a:ext>
            </a:extLst>
          </p:cNvPr>
          <p:cNvSpPr/>
          <p:nvPr userDrawn="1"/>
        </p:nvSpPr>
        <p:spPr>
          <a:xfrm>
            <a:off x="0" y="6714895"/>
            <a:ext cx="12192000" cy="180000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5" name="Tekstfelt 4">
            <a:extLst>
              <a:ext uri="{FF2B5EF4-FFF2-40B4-BE49-F238E27FC236}">
                <a16:creationId xmlns:a16="http://schemas.microsoft.com/office/drawing/2014/main" id="{D926263D-15B6-7E46-9D7B-3581BB98A802}"/>
              </a:ext>
            </a:extLst>
          </p:cNvPr>
          <p:cNvSpPr txBox="1"/>
          <p:nvPr userDrawn="1"/>
        </p:nvSpPr>
        <p:spPr>
          <a:xfrm>
            <a:off x="793596" y="555208"/>
            <a:ext cx="10604810" cy="5747585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da-DK" sz="11501" b="1">
                <a:solidFill>
                  <a:srgbClr val="FFFFFF"/>
                </a:solidFill>
              </a:rPr>
              <a:t>Nyt afsnit</a:t>
            </a:r>
          </a:p>
        </p:txBody>
      </p:sp>
    </p:spTree>
    <p:extLst>
      <p:ext uri="{BB962C8B-B14F-4D97-AF65-F5344CB8AC3E}">
        <p14:creationId xmlns:p14="http://schemas.microsoft.com/office/powerpoint/2010/main" val="218129066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0) Nyt afsnit - Mellemslide (indsæt billed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E0728A4A-9392-3044-A1DB-26D65B235A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23" name="Titel 9">
            <a:extLst>
              <a:ext uri="{FF2B5EF4-FFF2-40B4-BE49-F238E27FC236}">
                <a16:creationId xmlns:a16="http://schemas.microsoft.com/office/drawing/2014/main" id="{F443A15A-C60D-A744-B381-2453017F91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26" name="Billede 25">
            <a:extLst>
              <a:ext uri="{FF2B5EF4-FFF2-40B4-BE49-F238E27FC236}">
                <a16:creationId xmlns:a16="http://schemas.microsoft.com/office/drawing/2014/main" id="{D00CBDA2-D83C-C64D-8FE0-E7AFC79E139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EDB6CCC3-4B79-A846-8F97-C3D0B9F9CE3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-1880" y="0"/>
            <a:ext cx="12193879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0 h 6858000"/>
              <a:gd name="connsiteX0" fmla="*/ 18 w 12192018"/>
              <a:gd name="connsiteY0" fmla="*/ 0 h 6858000"/>
              <a:gd name="connsiteX1" fmla="*/ 12192018 w 12192018"/>
              <a:gd name="connsiteY1" fmla="*/ 0 h 6858000"/>
              <a:gd name="connsiteX2" fmla="*/ 12192018 w 12192018"/>
              <a:gd name="connsiteY2" fmla="*/ 6858000 h 6858000"/>
              <a:gd name="connsiteX3" fmla="*/ 18 w 12192018"/>
              <a:gd name="connsiteY3" fmla="*/ 6858000 h 6858000"/>
              <a:gd name="connsiteX4" fmla="*/ 2377458 w 12192018"/>
              <a:gd name="connsiteY4" fmla="*/ 2971800 h 6858000"/>
              <a:gd name="connsiteX5" fmla="*/ 18 w 12192018"/>
              <a:gd name="connsiteY5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3115657 w 12930217"/>
              <a:gd name="connsiteY5" fmla="*/ 2971800 h 6858000"/>
              <a:gd name="connsiteX6" fmla="*/ 738217 w 12930217"/>
              <a:gd name="connsiteY6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3115657 w 12930217"/>
              <a:gd name="connsiteY6" fmla="*/ 2971800 h 6858000"/>
              <a:gd name="connsiteX7" fmla="*/ 738217 w 12930217"/>
              <a:gd name="connsiteY7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749647 w 12930217"/>
              <a:gd name="connsiteY7" fmla="*/ 30861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749647 w 12930217"/>
              <a:gd name="connsiteY7" fmla="*/ 3086100 h 6858000"/>
              <a:gd name="connsiteX8" fmla="*/ 738217 w 12930217"/>
              <a:gd name="connsiteY8" fmla="*/ 0 h 6858000"/>
              <a:gd name="connsiteX0" fmla="*/ 849833 w 13041833"/>
              <a:gd name="connsiteY0" fmla="*/ 0 h 6858000"/>
              <a:gd name="connsiteX1" fmla="*/ 13041833 w 13041833"/>
              <a:gd name="connsiteY1" fmla="*/ 0 h 6858000"/>
              <a:gd name="connsiteX2" fmla="*/ 13041833 w 13041833"/>
              <a:gd name="connsiteY2" fmla="*/ 6858000 h 6858000"/>
              <a:gd name="connsiteX3" fmla="*/ 849833 w 13041833"/>
              <a:gd name="connsiteY3" fmla="*/ 6858000 h 6858000"/>
              <a:gd name="connsiteX4" fmla="*/ 1307033 w 13041833"/>
              <a:gd name="connsiteY4" fmla="*/ 5829300 h 6858000"/>
              <a:gd name="connsiteX5" fmla="*/ 7067754 w 13041833"/>
              <a:gd name="connsiteY5" fmla="*/ 5772150 h 6858000"/>
              <a:gd name="connsiteX6" fmla="*/ 8096454 w 13041833"/>
              <a:gd name="connsiteY6" fmla="*/ 3086100 h 6858000"/>
              <a:gd name="connsiteX7" fmla="*/ 861263 w 13041833"/>
              <a:gd name="connsiteY7" fmla="*/ 3086100 h 6858000"/>
              <a:gd name="connsiteX8" fmla="*/ 849833 w 13041833"/>
              <a:gd name="connsiteY8" fmla="*/ 0 h 6858000"/>
              <a:gd name="connsiteX0" fmla="*/ 796095 w 12988095"/>
              <a:gd name="connsiteY0" fmla="*/ 0 h 6858000"/>
              <a:gd name="connsiteX1" fmla="*/ 12988095 w 12988095"/>
              <a:gd name="connsiteY1" fmla="*/ 0 h 6858000"/>
              <a:gd name="connsiteX2" fmla="*/ 12988095 w 12988095"/>
              <a:gd name="connsiteY2" fmla="*/ 6858000 h 6858000"/>
              <a:gd name="connsiteX3" fmla="*/ 796095 w 12988095"/>
              <a:gd name="connsiteY3" fmla="*/ 6858000 h 6858000"/>
              <a:gd name="connsiteX4" fmla="*/ 1253295 w 12988095"/>
              <a:gd name="connsiteY4" fmla="*/ 5829300 h 6858000"/>
              <a:gd name="connsiteX5" fmla="*/ 7014016 w 12988095"/>
              <a:gd name="connsiteY5" fmla="*/ 5772150 h 6858000"/>
              <a:gd name="connsiteX6" fmla="*/ 8042716 w 12988095"/>
              <a:gd name="connsiteY6" fmla="*/ 3086100 h 6858000"/>
              <a:gd name="connsiteX7" fmla="*/ 807525 w 12988095"/>
              <a:gd name="connsiteY7" fmla="*/ 3086100 h 6858000"/>
              <a:gd name="connsiteX8" fmla="*/ 796095 w 12988095"/>
              <a:gd name="connsiteY8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457200 w 12192000"/>
              <a:gd name="connsiteY4" fmla="*/ 5829300 h 6858000"/>
              <a:gd name="connsiteX5" fmla="*/ 6217921 w 12192000"/>
              <a:gd name="connsiteY5" fmla="*/ 5772150 h 6858000"/>
              <a:gd name="connsiteX6" fmla="*/ 7246621 w 12192000"/>
              <a:gd name="connsiteY6" fmla="*/ 3086100 h 6858000"/>
              <a:gd name="connsiteX7" fmla="*/ 11430 w 12192000"/>
              <a:gd name="connsiteY7" fmla="*/ 3086100 h 6858000"/>
              <a:gd name="connsiteX8" fmla="*/ 0 w 12192000"/>
              <a:gd name="connsiteY8" fmla="*/ 0 h 6858000"/>
              <a:gd name="connsiteX0" fmla="*/ 45732 w 12237732"/>
              <a:gd name="connsiteY0" fmla="*/ 0 h 6858000"/>
              <a:gd name="connsiteX1" fmla="*/ 12237732 w 12237732"/>
              <a:gd name="connsiteY1" fmla="*/ 0 h 6858000"/>
              <a:gd name="connsiteX2" fmla="*/ 12237732 w 12237732"/>
              <a:gd name="connsiteY2" fmla="*/ 6858000 h 6858000"/>
              <a:gd name="connsiteX3" fmla="*/ 45732 w 12237732"/>
              <a:gd name="connsiteY3" fmla="*/ 6858000 h 6858000"/>
              <a:gd name="connsiteX4" fmla="*/ 57162 w 12237732"/>
              <a:gd name="connsiteY4" fmla="*/ 5806440 h 6858000"/>
              <a:gd name="connsiteX5" fmla="*/ 6263653 w 12237732"/>
              <a:gd name="connsiteY5" fmla="*/ 5772150 h 6858000"/>
              <a:gd name="connsiteX6" fmla="*/ 7292353 w 12237732"/>
              <a:gd name="connsiteY6" fmla="*/ 3086100 h 6858000"/>
              <a:gd name="connsiteX7" fmla="*/ 57162 w 12237732"/>
              <a:gd name="connsiteY7" fmla="*/ 3086100 h 6858000"/>
              <a:gd name="connsiteX8" fmla="*/ 45732 w 12237732"/>
              <a:gd name="connsiteY8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11430 w 12192000"/>
              <a:gd name="connsiteY4" fmla="*/ 5806440 h 6858000"/>
              <a:gd name="connsiteX5" fmla="*/ 6217921 w 12192000"/>
              <a:gd name="connsiteY5" fmla="*/ 5772150 h 6858000"/>
              <a:gd name="connsiteX6" fmla="*/ 7246621 w 12192000"/>
              <a:gd name="connsiteY6" fmla="*/ 3086100 h 6858000"/>
              <a:gd name="connsiteX7" fmla="*/ 11430 w 12192000"/>
              <a:gd name="connsiteY7" fmla="*/ 3086100 h 6858000"/>
              <a:gd name="connsiteX8" fmla="*/ 0 w 12192000"/>
              <a:gd name="connsiteY8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11430 w 12192000"/>
              <a:gd name="connsiteY4" fmla="*/ 5806440 h 6858000"/>
              <a:gd name="connsiteX5" fmla="*/ 6217921 w 12192000"/>
              <a:gd name="connsiteY5" fmla="*/ 5772150 h 6858000"/>
              <a:gd name="connsiteX6" fmla="*/ 7246621 w 12192000"/>
              <a:gd name="connsiteY6" fmla="*/ 3086100 h 6858000"/>
              <a:gd name="connsiteX7" fmla="*/ 11430 w 12192000"/>
              <a:gd name="connsiteY7" fmla="*/ 3086100 h 6858000"/>
              <a:gd name="connsiteX8" fmla="*/ 0 w 12192000"/>
              <a:gd name="connsiteY8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11430 w 12192000"/>
              <a:gd name="connsiteY4" fmla="*/ 5806440 h 6858000"/>
              <a:gd name="connsiteX5" fmla="*/ 7223761 w 12192000"/>
              <a:gd name="connsiteY5" fmla="*/ 5806440 h 6858000"/>
              <a:gd name="connsiteX6" fmla="*/ 7246621 w 12192000"/>
              <a:gd name="connsiteY6" fmla="*/ 3086100 h 6858000"/>
              <a:gd name="connsiteX7" fmla="*/ 11430 w 12192000"/>
              <a:gd name="connsiteY7" fmla="*/ 3086100 h 6858000"/>
              <a:gd name="connsiteX8" fmla="*/ 0 w 12192000"/>
              <a:gd name="connsiteY8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11430 w 12192000"/>
              <a:gd name="connsiteY4" fmla="*/ 5806440 h 6858000"/>
              <a:gd name="connsiteX5" fmla="*/ 7223761 w 12192000"/>
              <a:gd name="connsiteY5" fmla="*/ 5806440 h 6858000"/>
              <a:gd name="connsiteX6" fmla="*/ 7246621 w 12192000"/>
              <a:gd name="connsiteY6" fmla="*/ 3086100 h 6858000"/>
              <a:gd name="connsiteX7" fmla="*/ 11430 w 12192000"/>
              <a:gd name="connsiteY7" fmla="*/ 3086100 h 6858000"/>
              <a:gd name="connsiteX8" fmla="*/ 0 w 12192000"/>
              <a:gd name="connsiteY8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11430 w 12192000"/>
              <a:gd name="connsiteY4" fmla="*/ 5806440 h 6858000"/>
              <a:gd name="connsiteX5" fmla="*/ 7223761 w 12192000"/>
              <a:gd name="connsiteY5" fmla="*/ 5806440 h 6858000"/>
              <a:gd name="connsiteX6" fmla="*/ 7246621 w 12192000"/>
              <a:gd name="connsiteY6" fmla="*/ 3086100 h 6858000"/>
              <a:gd name="connsiteX7" fmla="*/ 11430 w 12192000"/>
              <a:gd name="connsiteY7" fmla="*/ 3086100 h 6858000"/>
              <a:gd name="connsiteX8" fmla="*/ 0 w 12192000"/>
              <a:gd name="connsiteY8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11430 w 12192000"/>
              <a:gd name="connsiteY4" fmla="*/ 5806440 h 6858000"/>
              <a:gd name="connsiteX5" fmla="*/ 7223761 w 12192000"/>
              <a:gd name="connsiteY5" fmla="*/ 5806440 h 6858000"/>
              <a:gd name="connsiteX6" fmla="*/ 7246621 w 12192000"/>
              <a:gd name="connsiteY6" fmla="*/ 3086100 h 6858000"/>
              <a:gd name="connsiteX7" fmla="*/ 11430 w 12192000"/>
              <a:gd name="connsiteY7" fmla="*/ 3086100 h 6858000"/>
              <a:gd name="connsiteX8" fmla="*/ 0 w 12192000"/>
              <a:gd name="connsiteY8" fmla="*/ 0 h 6858000"/>
              <a:gd name="connsiteX0" fmla="*/ 1270 w 12193270"/>
              <a:gd name="connsiteY0" fmla="*/ 0 h 6858000"/>
              <a:gd name="connsiteX1" fmla="*/ 12193270 w 12193270"/>
              <a:gd name="connsiteY1" fmla="*/ 0 h 6858000"/>
              <a:gd name="connsiteX2" fmla="*/ 12193270 w 12193270"/>
              <a:gd name="connsiteY2" fmla="*/ 6858000 h 6858000"/>
              <a:gd name="connsiteX3" fmla="*/ 1270 w 12193270"/>
              <a:gd name="connsiteY3" fmla="*/ 6858000 h 6858000"/>
              <a:gd name="connsiteX4" fmla="*/ 12700 w 12193270"/>
              <a:gd name="connsiteY4" fmla="*/ 5806440 h 6858000"/>
              <a:gd name="connsiteX5" fmla="*/ 7225031 w 12193270"/>
              <a:gd name="connsiteY5" fmla="*/ 5806440 h 6858000"/>
              <a:gd name="connsiteX6" fmla="*/ 7247891 w 12193270"/>
              <a:gd name="connsiteY6" fmla="*/ 3086100 h 6858000"/>
              <a:gd name="connsiteX7" fmla="*/ 0 w 12193270"/>
              <a:gd name="connsiteY7" fmla="*/ 3092450 h 6858000"/>
              <a:gd name="connsiteX8" fmla="*/ 1270 w 12193270"/>
              <a:gd name="connsiteY8" fmla="*/ 0 h 6858000"/>
              <a:gd name="connsiteX0" fmla="*/ 1270 w 12193270"/>
              <a:gd name="connsiteY0" fmla="*/ 0 h 6858000"/>
              <a:gd name="connsiteX1" fmla="*/ 12193270 w 12193270"/>
              <a:gd name="connsiteY1" fmla="*/ 0 h 6858000"/>
              <a:gd name="connsiteX2" fmla="*/ 12193270 w 12193270"/>
              <a:gd name="connsiteY2" fmla="*/ 6858000 h 6858000"/>
              <a:gd name="connsiteX3" fmla="*/ 1270 w 12193270"/>
              <a:gd name="connsiteY3" fmla="*/ 6858000 h 6858000"/>
              <a:gd name="connsiteX4" fmla="*/ 6350 w 12193270"/>
              <a:gd name="connsiteY4" fmla="*/ 5825490 h 6858000"/>
              <a:gd name="connsiteX5" fmla="*/ 7225031 w 12193270"/>
              <a:gd name="connsiteY5" fmla="*/ 5806440 h 6858000"/>
              <a:gd name="connsiteX6" fmla="*/ 7247891 w 12193270"/>
              <a:gd name="connsiteY6" fmla="*/ 3086100 h 6858000"/>
              <a:gd name="connsiteX7" fmla="*/ 0 w 12193270"/>
              <a:gd name="connsiteY7" fmla="*/ 3092450 h 6858000"/>
              <a:gd name="connsiteX8" fmla="*/ 1270 w 12193270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25640 w 12193879"/>
              <a:gd name="connsiteY5" fmla="*/ 5806440 h 6858000"/>
              <a:gd name="connsiteX6" fmla="*/ 7248500 w 12193879"/>
              <a:gd name="connsiteY6" fmla="*/ 308610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25640 w 12193879"/>
              <a:gd name="connsiteY5" fmla="*/ 5806440 h 6858000"/>
              <a:gd name="connsiteX6" fmla="*/ 7248500 w 12193879"/>
              <a:gd name="connsiteY6" fmla="*/ 308610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51040 w 12193879"/>
              <a:gd name="connsiteY5" fmla="*/ 5825490 h 6858000"/>
              <a:gd name="connsiteX6" fmla="*/ 7248500 w 12193879"/>
              <a:gd name="connsiteY6" fmla="*/ 308610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51040 w 12193879"/>
              <a:gd name="connsiteY5" fmla="*/ 5825490 h 6858000"/>
              <a:gd name="connsiteX6" fmla="*/ 7248500 w 12193879"/>
              <a:gd name="connsiteY6" fmla="*/ 308610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51040 w 12193879"/>
              <a:gd name="connsiteY5" fmla="*/ 5825490 h 6858000"/>
              <a:gd name="connsiteX6" fmla="*/ 7245325 w 12193879"/>
              <a:gd name="connsiteY6" fmla="*/ 309245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51040 w 12193879"/>
              <a:gd name="connsiteY5" fmla="*/ 5825490 h 6858000"/>
              <a:gd name="connsiteX6" fmla="*/ 7245325 w 12193879"/>
              <a:gd name="connsiteY6" fmla="*/ 309245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51040 w 12193879"/>
              <a:gd name="connsiteY5" fmla="*/ 5825490 h 6858000"/>
              <a:gd name="connsiteX6" fmla="*/ 7245325 w 12193879"/>
              <a:gd name="connsiteY6" fmla="*/ 309245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51040 w 12193879"/>
              <a:gd name="connsiteY5" fmla="*/ 5825490 h 6858000"/>
              <a:gd name="connsiteX6" fmla="*/ 7254850 w 12193879"/>
              <a:gd name="connsiteY6" fmla="*/ 309245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51040 w 12193879"/>
              <a:gd name="connsiteY5" fmla="*/ 5825490 h 6858000"/>
              <a:gd name="connsiteX6" fmla="*/ 7254850 w 12193879"/>
              <a:gd name="connsiteY6" fmla="*/ 309245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47865 w 12193879"/>
              <a:gd name="connsiteY5" fmla="*/ 5825490 h 6858000"/>
              <a:gd name="connsiteX6" fmla="*/ 7254850 w 12193879"/>
              <a:gd name="connsiteY6" fmla="*/ 309245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47865 w 12193879"/>
              <a:gd name="connsiteY5" fmla="*/ 5825490 h 6858000"/>
              <a:gd name="connsiteX6" fmla="*/ 7251675 w 12193879"/>
              <a:gd name="connsiteY6" fmla="*/ 3089275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47865 w 12193879"/>
              <a:gd name="connsiteY5" fmla="*/ 5819140 h 6858000"/>
              <a:gd name="connsiteX6" fmla="*/ 7251675 w 12193879"/>
              <a:gd name="connsiteY6" fmla="*/ 3089275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3879" h="6858000">
                <a:moveTo>
                  <a:pt x="1879" y="0"/>
                </a:moveTo>
                <a:lnTo>
                  <a:pt x="12193879" y="0"/>
                </a:lnTo>
                <a:lnTo>
                  <a:pt x="12193879" y="6858000"/>
                </a:lnTo>
                <a:lnTo>
                  <a:pt x="1879" y="6858000"/>
                </a:lnTo>
                <a:cubicBezTo>
                  <a:pt x="2514" y="6059805"/>
                  <a:pt x="-3836" y="6492875"/>
                  <a:pt x="3784" y="5822315"/>
                </a:cubicBezTo>
                <a:lnTo>
                  <a:pt x="7247865" y="5819140"/>
                </a:lnTo>
                <a:cubicBezTo>
                  <a:pt x="7250405" y="4772660"/>
                  <a:pt x="7247230" y="4008755"/>
                  <a:pt x="7251675" y="3089275"/>
                </a:cubicBezTo>
                <a:lnTo>
                  <a:pt x="609" y="3092450"/>
                </a:lnTo>
                <a:cubicBezTo>
                  <a:pt x="1032" y="2061633"/>
                  <a:pt x="1456" y="1030817"/>
                  <a:pt x="1879" y="0"/>
                </a:cubicBezTo>
                <a:close/>
              </a:path>
            </a:pathLst>
          </a:custGeom>
          <a:noFill/>
          <a:effectLst/>
        </p:spPr>
        <p:txBody>
          <a:bodyPr tIns="1692000"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800" b="0" baseline="0">
                <a:latin typeface="+mj-lt"/>
              </a:defRPr>
            </a:lvl1pPr>
          </a:lstStyle>
          <a:p>
            <a:r>
              <a:rPr lang="en-US" err="1"/>
              <a:t>Indsæt</a:t>
            </a:r>
            <a:r>
              <a:rPr lang="en-US"/>
              <a:t> </a:t>
            </a:r>
            <a:r>
              <a:rPr lang="en-US" err="1"/>
              <a:t>billiede</a:t>
            </a:r>
            <a:r>
              <a:rPr lang="en-US"/>
              <a:t>, </a:t>
            </a:r>
            <a:r>
              <a:rPr lang="en-US" err="1"/>
              <a:t>klik</a:t>
            </a:r>
            <a:r>
              <a:rPr lang="en-US"/>
              <a:t> her</a:t>
            </a:r>
          </a:p>
        </p:txBody>
      </p:sp>
      <p:grpSp>
        <p:nvGrpSpPr>
          <p:cNvPr id="9" name="Gruppe 8">
            <a:extLst>
              <a:ext uri="{FF2B5EF4-FFF2-40B4-BE49-F238E27FC236}">
                <a16:creationId xmlns:a16="http://schemas.microsoft.com/office/drawing/2014/main" id="{8A69F2F3-767B-1543-9BB3-36075B3B8957}"/>
              </a:ext>
            </a:extLst>
          </p:cNvPr>
          <p:cNvGrpSpPr/>
          <p:nvPr userDrawn="1"/>
        </p:nvGrpSpPr>
        <p:grpSpPr>
          <a:xfrm rot="17162911" flipH="1">
            <a:off x="6421968" y="2335518"/>
            <a:ext cx="837630" cy="491500"/>
            <a:chOff x="3807407" y="1614978"/>
            <a:chExt cx="750355" cy="334433"/>
          </a:xfrm>
        </p:grpSpPr>
        <p:sp>
          <p:nvSpPr>
            <p:cNvPr id="10" name="Kombinationstegning 9">
              <a:extLst>
                <a:ext uri="{FF2B5EF4-FFF2-40B4-BE49-F238E27FC236}">
                  <a16:creationId xmlns:a16="http://schemas.microsoft.com/office/drawing/2014/main" id="{261AFC55-9A17-4A4E-B03C-2D2432500C23}"/>
                </a:ext>
              </a:extLst>
            </p:cNvPr>
            <p:cNvSpPr/>
            <p:nvPr/>
          </p:nvSpPr>
          <p:spPr>
            <a:xfrm>
              <a:off x="3807407" y="1651138"/>
              <a:ext cx="674427" cy="298273"/>
            </a:xfrm>
            <a:custGeom>
              <a:avLst/>
              <a:gdLst>
                <a:gd name="connsiteX0" fmla="*/ 161131 w 674427"/>
                <a:gd name="connsiteY0" fmla="*/ 238844 h 298273"/>
                <a:gd name="connsiteX1" fmla="*/ 163986 w 674427"/>
                <a:gd name="connsiteY1" fmla="*/ 237892 h 298273"/>
                <a:gd name="connsiteX2" fmla="*/ 136381 w 674427"/>
                <a:gd name="connsiteY2" fmla="*/ 250263 h 298273"/>
                <a:gd name="connsiteX3" fmla="*/ 194447 w 674427"/>
                <a:gd name="connsiteY3" fmla="*/ 220764 h 298273"/>
                <a:gd name="connsiteX4" fmla="*/ 218245 w 674427"/>
                <a:gd name="connsiteY4" fmla="*/ 216006 h 298273"/>
                <a:gd name="connsiteX5" fmla="*/ 229667 w 674427"/>
                <a:gd name="connsiteY5" fmla="*/ 208394 h 298273"/>
                <a:gd name="connsiteX6" fmla="*/ 222052 w 674427"/>
                <a:gd name="connsiteY6" fmla="*/ 213152 h 298273"/>
                <a:gd name="connsiteX7" fmla="*/ 229667 w 674427"/>
                <a:gd name="connsiteY7" fmla="*/ 208394 h 298273"/>
                <a:gd name="connsiteX8" fmla="*/ 313435 w 674427"/>
                <a:gd name="connsiteY8" fmla="*/ 169379 h 298273"/>
                <a:gd name="connsiteX9" fmla="*/ 392442 w 674427"/>
                <a:gd name="connsiteY9" fmla="*/ 137978 h 298273"/>
                <a:gd name="connsiteX10" fmla="*/ 400057 w 674427"/>
                <a:gd name="connsiteY10" fmla="*/ 135123 h 298273"/>
                <a:gd name="connsiteX11" fmla="*/ 391490 w 674427"/>
                <a:gd name="connsiteY11" fmla="*/ 137978 h 298273"/>
                <a:gd name="connsiteX12" fmla="*/ 418144 w 674427"/>
                <a:gd name="connsiteY12" fmla="*/ 121801 h 298273"/>
                <a:gd name="connsiteX13" fmla="*/ 411480 w 674427"/>
                <a:gd name="connsiteY13" fmla="*/ 121801 h 298273"/>
                <a:gd name="connsiteX14" fmla="*/ 416240 w 674427"/>
                <a:gd name="connsiteY14" fmla="*/ 119898 h 298273"/>
                <a:gd name="connsiteX15" fmla="*/ 433374 w 674427"/>
                <a:gd name="connsiteY15" fmla="*/ 109430 h 298273"/>
                <a:gd name="connsiteX16" fmla="*/ 440037 w 674427"/>
                <a:gd name="connsiteY16" fmla="*/ 108479 h 298273"/>
                <a:gd name="connsiteX17" fmla="*/ 438133 w 674427"/>
                <a:gd name="connsiteY17" fmla="*/ 108479 h 298273"/>
                <a:gd name="connsiteX18" fmla="*/ 474306 w 674427"/>
                <a:gd name="connsiteY18" fmla="*/ 92302 h 298273"/>
                <a:gd name="connsiteX19" fmla="*/ 478113 w 674427"/>
                <a:gd name="connsiteY19" fmla="*/ 91351 h 298273"/>
                <a:gd name="connsiteX20" fmla="*/ 488584 w 674427"/>
                <a:gd name="connsiteY20" fmla="*/ 86593 h 298273"/>
                <a:gd name="connsiteX21" fmla="*/ 493344 w 674427"/>
                <a:gd name="connsiteY21" fmla="*/ 87544 h 298273"/>
                <a:gd name="connsiteX22" fmla="*/ 515237 w 674427"/>
                <a:gd name="connsiteY22" fmla="*/ 76126 h 298273"/>
                <a:gd name="connsiteX23" fmla="*/ 555217 w 674427"/>
                <a:gd name="connsiteY23" fmla="*/ 58997 h 298273"/>
                <a:gd name="connsiteX24" fmla="*/ 596149 w 674427"/>
                <a:gd name="connsiteY24" fmla="*/ 40917 h 298273"/>
                <a:gd name="connsiteX25" fmla="*/ 595197 w 674427"/>
                <a:gd name="connsiteY25" fmla="*/ 40917 h 298273"/>
                <a:gd name="connsiteX26" fmla="*/ 624706 w 674427"/>
                <a:gd name="connsiteY26" fmla="*/ 27596 h 298273"/>
                <a:gd name="connsiteX27" fmla="*/ 646599 w 674427"/>
                <a:gd name="connsiteY27" fmla="*/ 14274 h 298273"/>
                <a:gd name="connsiteX28" fmla="*/ 669445 w 674427"/>
                <a:gd name="connsiteY28" fmla="*/ 4758 h 298273"/>
                <a:gd name="connsiteX29" fmla="*/ 673253 w 674427"/>
                <a:gd name="connsiteY29" fmla="*/ 0 h 298273"/>
                <a:gd name="connsiteX30" fmla="*/ 659926 w 674427"/>
                <a:gd name="connsiteY30" fmla="*/ 1903 h 298273"/>
                <a:gd name="connsiteX31" fmla="*/ 659926 w 674427"/>
                <a:gd name="connsiteY31" fmla="*/ 1903 h 298273"/>
                <a:gd name="connsiteX32" fmla="*/ 581870 w 674427"/>
                <a:gd name="connsiteY32" fmla="*/ 23789 h 298273"/>
                <a:gd name="connsiteX33" fmla="*/ 528564 w 674427"/>
                <a:gd name="connsiteY33" fmla="*/ 44724 h 298273"/>
                <a:gd name="connsiteX34" fmla="*/ 474306 w 674427"/>
                <a:gd name="connsiteY34" fmla="*/ 69465 h 298273"/>
                <a:gd name="connsiteX35" fmla="*/ 463835 w 674427"/>
                <a:gd name="connsiteY35" fmla="*/ 72319 h 298273"/>
                <a:gd name="connsiteX36" fmla="*/ 414336 w 674427"/>
                <a:gd name="connsiteY36" fmla="*/ 94205 h 298273"/>
                <a:gd name="connsiteX37" fmla="*/ 415288 w 674427"/>
                <a:gd name="connsiteY37" fmla="*/ 94205 h 298273"/>
                <a:gd name="connsiteX38" fmla="*/ 390538 w 674427"/>
                <a:gd name="connsiteY38" fmla="*/ 103721 h 298273"/>
                <a:gd name="connsiteX39" fmla="*/ 388635 w 674427"/>
                <a:gd name="connsiteY39" fmla="*/ 105624 h 298273"/>
                <a:gd name="connsiteX40" fmla="*/ 336280 w 674427"/>
                <a:gd name="connsiteY40" fmla="*/ 132268 h 298273"/>
                <a:gd name="connsiteX41" fmla="*/ 333424 w 674427"/>
                <a:gd name="connsiteY41" fmla="*/ 134171 h 298273"/>
                <a:gd name="connsiteX42" fmla="*/ 280118 w 674427"/>
                <a:gd name="connsiteY42" fmla="*/ 154154 h 298273"/>
                <a:gd name="connsiteX43" fmla="*/ 271551 w 674427"/>
                <a:gd name="connsiteY43" fmla="*/ 161767 h 298273"/>
                <a:gd name="connsiteX44" fmla="*/ 264888 w 674427"/>
                <a:gd name="connsiteY44" fmla="*/ 165573 h 298273"/>
                <a:gd name="connsiteX45" fmla="*/ 255369 w 674427"/>
                <a:gd name="connsiteY45" fmla="*/ 169379 h 298273"/>
                <a:gd name="connsiteX46" fmla="*/ 235379 w 674427"/>
                <a:gd name="connsiteY46" fmla="*/ 178895 h 298273"/>
                <a:gd name="connsiteX47" fmla="*/ 227764 w 674427"/>
                <a:gd name="connsiteY47" fmla="*/ 183653 h 298273"/>
                <a:gd name="connsiteX48" fmla="*/ 222052 w 674427"/>
                <a:gd name="connsiteY48" fmla="*/ 184604 h 298273"/>
                <a:gd name="connsiteX49" fmla="*/ 210629 w 674427"/>
                <a:gd name="connsiteY49" fmla="*/ 189362 h 298273"/>
                <a:gd name="connsiteX50" fmla="*/ 193495 w 674427"/>
                <a:gd name="connsiteY50" fmla="*/ 199829 h 298273"/>
                <a:gd name="connsiteX51" fmla="*/ 194447 w 674427"/>
                <a:gd name="connsiteY51" fmla="*/ 198878 h 298273"/>
                <a:gd name="connsiteX52" fmla="*/ 173505 w 674427"/>
                <a:gd name="connsiteY52" fmla="*/ 205539 h 298273"/>
                <a:gd name="connsiteX53" fmla="*/ 112584 w 674427"/>
                <a:gd name="connsiteY53" fmla="*/ 235038 h 298273"/>
                <a:gd name="connsiteX54" fmla="*/ 117343 w 674427"/>
                <a:gd name="connsiteY54" fmla="*/ 234086 h 298273"/>
                <a:gd name="connsiteX55" fmla="*/ 83075 w 674427"/>
                <a:gd name="connsiteY55" fmla="*/ 248360 h 298273"/>
                <a:gd name="connsiteX56" fmla="*/ 77363 w 674427"/>
                <a:gd name="connsiteY56" fmla="*/ 249311 h 298273"/>
                <a:gd name="connsiteX57" fmla="*/ 72604 w 674427"/>
                <a:gd name="connsiteY57" fmla="*/ 252166 h 298273"/>
                <a:gd name="connsiteX58" fmla="*/ 71652 w 674427"/>
                <a:gd name="connsiteY58" fmla="*/ 251214 h 298273"/>
                <a:gd name="connsiteX59" fmla="*/ 62133 w 674427"/>
                <a:gd name="connsiteY59" fmla="*/ 255021 h 298273"/>
                <a:gd name="connsiteX60" fmla="*/ 59277 w 674427"/>
                <a:gd name="connsiteY60" fmla="*/ 256924 h 298273"/>
                <a:gd name="connsiteX61" fmla="*/ 55470 w 674427"/>
                <a:gd name="connsiteY61" fmla="*/ 257875 h 298273"/>
                <a:gd name="connsiteX62" fmla="*/ 55470 w 674427"/>
                <a:gd name="connsiteY62" fmla="*/ 257875 h 298273"/>
                <a:gd name="connsiteX63" fmla="*/ 53566 w 674427"/>
                <a:gd name="connsiteY63" fmla="*/ 258827 h 298273"/>
                <a:gd name="connsiteX64" fmla="*/ 39287 w 674427"/>
                <a:gd name="connsiteY64" fmla="*/ 271197 h 298273"/>
                <a:gd name="connsiteX65" fmla="*/ 38335 w 674427"/>
                <a:gd name="connsiteY65" fmla="*/ 271197 h 298273"/>
                <a:gd name="connsiteX66" fmla="*/ 37384 w 674427"/>
                <a:gd name="connsiteY66" fmla="*/ 273100 h 298273"/>
                <a:gd name="connsiteX67" fmla="*/ 34528 w 674427"/>
                <a:gd name="connsiteY67" fmla="*/ 274052 h 298273"/>
                <a:gd name="connsiteX68" fmla="*/ 34528 w 674427"/>
                <a:gd name="connsiteY68" fmla="*/ 274052 h 298273"/>
                <a:gd name="connsiteX69" fmla="*/ 31672 w 674427"/>
                <a:gd name="connsiteY69" fmla="*/ 275004 h 298273"/>
                <a:gd name="connsiteX70" fmla="*/ 30720 w 674427"/>
                <a:gd name="connsiteY70" fmla="*/ 274052 h 298273"/>
                <a:gd name="connsiteX71" fmla="*/ 26913 w 674427"/>
                <a:gd name="connsiteY71" fmla="*/ 276907 h 298273"/>
                <a:gd name="connsiteX72" fmla="*/ 41191 w 674427"/>
                <a:gd name="connsiteY72" fmla="*/ 274052 h 298273"/>
                <a:gd name="connsiteX73" fmla="*/ 34528 w 674427"/>
                <a:gd name="connsiteY73" fmla="*/ 276907 h 298273"/>
                <a:gd name="connsiteX74" fmla="*/ 23105 w 674427"/>
                <a:gd name="connsiteY74" fmla="*/ 279761 h 298273"/>
                <a:gd name="connsiteX75" fmla="*/ 20249 w 674427"/>
                <a:gd name="connsiteY75" fmla="*/ 281664 h 298273"/>
                <a:gd name="connsiteX76" fmla="*/ 16442 w 674427"/>
                <a:gd name="connsiteY76" fmla="*/ 282616 h 298273"/>
                <a:gd name="connsiteX77" fmla="*/ 21201 w 674427"/>
                <a:gd name="connsiteY77" fmla="*/ 279761 h 298273"/>
                <a:gd name="connsiteX78" fmla="*/ 15490 w 674427"/>
                <a:gd name="connsiteY78" fmla="*/ 281664 h 298273"/>
                <a:gd name="connsiteX79" fmla="*/ 9778 w 674427"/>
                <a:gd name="connsiteY79" fmla="*/ 284519 h 298273"/>
                <a:gd name="connsiteX80" fmla="*/ 5971 w 674427"/>
                <a:gd name="connsiteY80" fmla="*/ 284519 h 298273"/>
                <a:gd name="connsiteX81" fmla="*/ 5019 w 674427"/>
                <a:gd name="connsiteY81" fmla="*/ 286422 h 298273"/>
                <a:gd name="connsiteX82" fmla="*/ 9778 w 674427"/>
                <a:gd name="connsiteY82" fmla="*/ 286422 h 298273"/>
                <a:gd name="connsiteX83" fmla="*/ 5019 w 674427"/>
                <a:gd name="connsiteY83" fmla="*/ 288325 h 298273"/>
                <a:gd name="connsiteX84" fmla="*/ 5971 w 674427"/>
                <a:gd name="connsiteY84" fmla="*/ 289277 h 298273"/>
                <a:gd name="connsiteX85" fmla="*/ 1211 w 674427"/>
                <a:gd name="connsiteY85" fmla="*/ 291180 h 298273"/>
                <a:gd name="connsiteX86" fmla="*/ 2163 w 674427"/>
                <a:gd name="connsiteY86" fmla="*/ 290229 h 298273"/>
                <a:gd name="connsiteX87" fmla="*/ 8827 w 674427"/>
                <a:gd name="connsiteY87" fmla="*/ 281664 h 298273"/>
                <a:gd name="connsiteX88" fmla="*/ 259 w 674427"/>
                <a:gd name="connsiteY88" fmla="*/ 291180 h 298273"/>
                <a:gd name="connsiteX89" fmla="*/ 1211 w 674427"/>
                <a:gd name="connsiteY89" fmla="*/ 292132 h 298273"/>
                <a:gd name="connsiteX90" fmla="*/ 2163 w 674427"/>
                <a:gd name="connsiteY90" fmla="*/ 290229 h 298273"/>
                <a:gd name="connsiteX91" fmla="*/ 5019 w 674427"/>
                <a:gd name="connsiteY91" fmla="*/ 291180 h 298273"/>
                <a:gd name="connsiteX92" fmla="*/ 8827 w 674427"/>
                <a:gd name="connsiteY92" fmla="*/ 284519 h 298273"/>
                <a:gd name="connsiteX93" fmla="*/ 9778 w 674427"/>
                <a:gd name="connsiteY93" fmla="*/ 284519 h 298273"/>
                <a:gd name="connsiteX94" fmla="*/ 5019 w 674427"/>
                <a:gd name="connsiteY94" fmla="*/ 287374 h 298273"/>
                <a:gd name="connsiteX95" fmla="*/ 3115 w 674427"/>
                <a:gd name="connsiteY95" fmla="*/ 290229 h 298273"/>
                <a:gd name="connsiteX96" fmla="*/ 2163 w 674427"/>
                <a:gd name="connsiteY96" fmla="*/ 290229 h 298273"/>
                <a:gd name="connsiteX97" fmla="*/ 259 w 674427"/>
                <a:gd name="connsiteY97" fmla="*/ 292132 h 298273"/>
                <a:gd name="connsiteX98" fmla="*/ 5971 w 674427"/>
                <a:gd name="connsiteY98" fmla="*/ 297841 h 298273"/>
                <a:gd name="connsiteX99" fmla="*/ 9778 w 674427"/>
                <a:gd name="connsiteY99" fmla="*/ 294035 h 298273"/>
                <a:gd name="connsiteX100" fmla="*/ 14538 w 674427"/>
                <a:gd name="connsiteY100" fmla="*/ 294035 h 298273"/>
                <a:gd name="connsiteX101" fmla="*/ 15490 w 674427"/>
                <a:gd name="connsiteY101" fmla="*/ 292132 h 298273"/>
                <a:gd name="connsiteX102" fmla="*/ 19297 w 674427"/>
                <a:gd name="connsiteY102" fmla="*/ 292132 h 298273"/>
                <a:gd name="connsiteX103" fmla="*/ 24057 w 674427"/>
                <a:gd name="connsiteY103" fmla="*/ 290229 h 298273"/>
                <a:gd name="connsiteX104" fmla="*/ 25009 w 674427"/>
                <a:gd name="connsiteY104" fmla="*/ 289277 h 298273"/>
                <a:gd name="connsiteX105" fmla="*/ 32624 w 674427"/>
                <a:gd name="connsiteY105" fmla="*/ 285471 h 298273"/>
                <a:gd name="connsiteX106" fmla="*/ 35480 w 674427"/>
                <a:gd name="connsiteY106" fmla="*/ 288325 h 298273"/>
                <a:gd name="connsiteX107" fmla="*/ 32624 w 674427"/>
                <a:gd name="connsiteY107" fmla="*/ 288325 h 298273"/>
                <a:gd name="connsiteX108" fmla="*/ 29768 w 674427"/>
                <a:gd name="connsiteY108" fmla="*/ 292132 h 298273"/>
                <a:gd name="connsiteX109" fmla="*/ 35480 w 674427"/>
                <a:gd name="connsiteY109" fmla="*/ 290229 h 298273"/>
                <a:gd name="connsiteX110" fmla="*/ 34528 w 674427"/>
                <a:gd name="connsiteY110" fmla="*/ 290229 h 298273"/>
                <a:gd name="connsiteX111" fmla="*/ 42143 w 674427"/>
                <a:gd name="connsiteY111" fmla="*/ 286422 h 298273"/>
                <a:gd name="connsiteX112" fmla="*/ 42143 w 674427"/>
                <a:gd name="connsiteY112" fmla="*/ 288325 h 298273"/>
                <a:gd name="connsiteX113" fmla="*/ 44999 w 674427"/>
                <a:gd name="connsiteY113" fmla="*/ 287374 h 298273"/>
                <a:gd name="connsiteX114" fmla="*/ 44999 w 674427"/>
                <a:gd name="connsiteY114" fmla="*/ 287374 h 298273"/>
                <a:gd name="connsiteX115" fmla="*/ 48806 w 674427"/>
                <a:gd name="connsiteY115" fmla="*/ 285471 h 298273"/>
                <a:gd name="connsiteX116" fmla="*/ 61181 w 674427"/>
                <a:gd name="connsiteY116" fmla="*/ 276907 h 298273"/>
                <a:gd name="connsiteX117" fmla="*/ 64989 w 674427"/>
                <a:gd name="connsiteY117" fmla="*/ 275004 h 298273"/>
                <a:gd name="connsiteX118" fmla="*/ 50710 w 674427"/>
                <a:gd name="connsiteY118" fmla="*/ 284519 h 298273"/>
                <a:gd name="connsiteX119" fmla="*/ 71652 w 674427"/>
                <a:gd name="connsiteY119" fmla="*/ 272149 h 298273"/>
                <a:gd name="connsiteX120" fmla="*/ 73556 w 674427"/>
                <a:gd name="connsiteY120" fmla="*/ 270246 h 298273"/>
                <a:gd name="connsiteX121" fmla="*/ 75460 w 674427"/>
                <a:gd name="connsiteY121" fmla="*/ 271197 h 298273"/>
                <a:gd name="connsiteX122" fmla="*/ 75460 w 674427"/>
                <a:gd name="connsiteY122" fmla="*/ 271197 h 298273"/>
                <a:gd name="connsiteX123" fmla="*/ 77363 w 674427"/>
                <a:gd name="connsiteY123" fmla="*/ 271197 h 298273"/>
                <a:gd name="connsiteX124" fmla="*/ 89738 w 674427"/>
                <a:gd name="connsiteY124" fmla="*/ 264536 h 298273"/>
                <a:gd name="connsiteX125" fmla="*/ 85930 w 674427"/>
                <a:gd name="connsiteY125" fmla="*/ 269294 h 298273"/>
                <a:gd name="connsiteX126" fmla="*/ 84979 w 674427"/>
                <a:gd name="connsiteY126" fmla="*/ 269294 h 298273"/>
                <a:gd name="connsiteX127" fmla="*/ 83075 w 674427"/>
                <a:gd name="connsiteY127" fmla="*/ 271197 h 298273"/>
                <a:gd name="connsiteX128" fmla="*/ 89738 w 674427"/>
                <a:gd name="connsiteY128" fmla="*/ 267391 h 298273"/>
                <a:gd name="connsiteX129" fmla="*/ 91642 w 674427"/>
                <a:gd name="connsiteY129" fmla="*/ 267391 h 298273"/>
                <a:gd name="connsiteX130" fmla="*/ 91642 w 674427"/>
                <a:gd name="connsiteY130" fmla="*/ 267391 h 298273"/>
                <a:gd name="connsiteX131" fmla="*/ 92594 w 674427"/>
                <a:gd name="connsiteY131" fmla="*/ 268343 h 298273"/>
                <a:gd name="connsiteX132" fmla="*/ 92594 w 674427"/>
                <a:gd name="connsiteY132" fmla="*/ 268343 h 298273"/>
                <a:gd name="connsiteX133" fmla="*/ 105920 w 674427"/>
                <a:gd name="connsiteY133" fmla="*/ 261681 h 298273"/>
                <a:gd name="connsiteX134" fmla="*/ 106872 w 674427"/>
                <a:gd name="connsiteY134" fmla="*/ 259778 h 298273"/>
                <a:gd name="connsiteX135" fmla="*/ 119247 w 674427"/>
                <a:gd name="connsiteY135" fmla="*/ 255972 h 298273"/>
                <a:gd name="connsiteX136" fmla="*/ 118295 w 674427"/>
                <a:gd name="connsiteY136" fmla="*/ 254069 h 298273"/>
                <a:gd name="connsiteX137" fmla="*/ 122103 w 674427"/>
                <a:gd name="connsiteY137" fmla="*/ 253117 h 298273"/>
                <a:gd name="connsiteX138" fmla="*/ 126862 w 674427"/>
                <a:gd name="connsiteY138" fmla="*/ 255972 h 298273"/>
                <a:gd name="connsiteX139" fmla="*/ 131622 w 674427"/>
                <a:gd name="connsiteY139" fmla="*/ 254069 h 298273"/>
                <a:gd name="connsiteX140" fmla="*/ 133525 w 674427"/>
                <a:gd name="connsiteY140" fmla="*/ 251214 h 298273"/>
                <a:gd name="connsiteX141" fmla="*/ 139237 w 674427"/>
                <a:gd name="connsiteY141" fmla="*/ 249311 h 298273"/>
                <a:gd name="connsiteX142" fmla="*/ 140189 w 674427"/>
                <a:gd name="connsiteY142" fmla="*/ 251214 h 298273"/>
                <a:gd name="connsiteX143" fmla="*/ 148756 w 674427"/>
                <a:gd name="connsiteY143" fmla="*/ 248360 h 298273"/>
                <a:gd name="connsiteX144" fmla="*/ 155419 w 674427"/>
                <a:gd name="connsiteY144" fmla="*/ 243602 h 298273"/>
                <a:gd name="connsiteX145" fmla="*/ 161131 w 674427"/>
                <a:gd name="connsiteY145" fmla="*/ 238844 h 298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674427" h="298273">
                  <a:moveTo>
                    <a:pt x="161131" y="238844"/>
                  </a:moveTo>
                  <a:lnTo>
                    <a:pt x="163986" y="237892"/>
                  </a:lnTo>
                  <a:cubicBezTo>
                    <a:pt x="155419" y="242650"/>
                    <a:pt x="145900" y="246456"/>
                    <a:pt x="136381" y="250263"/>
                  </a:cubicBezTo>
                  <a:cubicBezTo>
                    <a:pt x="158275" y="244553"/>
                    <a:pt x="183024" y="236941"/>
                    <a:pt x="194447" y="220764"/>
                  </a:cubicBezTo>
                  <a:cubicBezTo>
                    <a:pt x="198255" y="224570"/>
                    <a:pt x="218245" y="216958"/>
                    <a:pt x="218245" y="216006"/>
                  </a:cubicBezTo>
                  <a:cubicBezTo>
                    <a:pt x="222052" y="213152"/>
                    <a:pt x="225860" y="210297"/>
                    <a:pt x="229667" y="208394"/>
                  </a:cubicBezTo>
                  <a:cubicBezTo>
                    <a:pt x="226812" y="210297"/>
                    <a:pt x="224908" y="212200"/>
                    <a:pt x="222052" y="213152"/>
                  </a:cubicBezTo>
                  <a:cubicBezTo>
                    <a:pt x="224908" y="211248"/>
                    <a:pt x="227764" y="209345"/>
                    <a:pt x="229667" y="208394"/>
                  </a:cubicBezTo>
                  <a:cubicBezTo>
                    <a:pt x="254417" y="192217"/>
                    <a:pt x="282974" y="180798"/>
                    <a:pt x="313435" y="169379"/>
                  </a:cubicBezTo>
                  <a:cubicBezTo>
                    <a:pt x="329617" y="162718"/>
                    <a:pt x="374356" y="143687"/>
                    <a:pt x="392442" y="137978"/>
                  </a:cubicBezTo>
                  <a:lnTo>
                    <a:pt x="400057" y="135123"/>
                  </a:lnTo>
                  <a:cubicBezTo>
                    <a:pt x="396250" y="136074"/>
                    <a:pt x="396250" y="136074"/>
                    <a:pt x="391490" y="137978"/>
                  </a:cubicBezTo>
                  <a:cubicBezTo>
                    <a:pt x="401009" y="132268"/>
                    <a:pt x="409576" y="126559"/>
                    <a:pt x="418144" y="121801"/>
                  </a:cubicBezTo>
                  <a:cubicBezTo>
                    <a:pt x="416240" y="121801"/>
                    <a:pt x="415288" y="120849"/>
                    <a:pt x="411480" y="121801"/>
                  </a:cubicBezTo>
                  <a:lnTo>
                    <a:pt x="416240" y="119898"/>
                  </a:lnTo>
                  <a:cubicBezTo>
                    <a:pt x="419095" y="116092"/>
                    <a:pt x="429566" y="112285"/>
                    <a:pt x="433374" y="109430"/>
                  </a:cubicBezTo>
                  <a:cubicBezTo>
                    <a:pt x="432422" y="111334"/>
                    <a:pt x="436230" y="109430"/>
                    <a:pt x="440037" y="108479"/>
                  </a:cubicBezTo>
                  <a:lnTo>
                    <a:pt x="438133" y="108479"/>
                  </a:lnTo>
                  <a:cubicBezTo>
                    <a:pt x="450508" y="103721"/>
                    <a:pt x="463835" y="97060"/>
                    <a:pt x="474306" y="92302"/>
                  </a:cubicBezTo>
                  <a:cubicBezTo>
                    <a:pt x="476209" y="91351"/>
                    <a:pt x="477161" y="91351"/>
                    <a:pt x="478113" y="91351"/>
                  </a:cubicBezTo>
                  <a:lnTo>
                    <a:pt x="488584" y="86593"/>
                  </a:lnTo>
                  <a:cubicBezTo>
                    <a:pt x="488584" y="88496"/>
                    <a:pt x="498103" y="84690"/>
                    <a:pt x="493344" y="87544"/>
                  </a:cubicBezTo>
                  <a:cubicBezTo>
                    <a:pt x="500007" y="82787"/>
                    <a:pt x="508574" y="80883"/>
                    <a:pt x="515237" y="76126"/>
                  </a:cubicBezTo>
                  <a:cubicBezTo>
                    <a:pt x="528564" y="70416"/>
                    <a:pt x="541891" y="64707"/>
                    <a:pt x="555217" y="58997"/>
                  </a:cubicBezTo>
                  <a:cubicBezTo>
                    <a:pt x="568544" y="53288"/>
                    <a:pt x="582822" y="47578"/>
                    <a:pt x="596149" y="40917"/>
                  </a:cubicBezTo>
                  <a:lnTo>
                    <a:pt x="595197" y="40917"/>
                  </a:lnTo>
                  <a:cubicBezTo>
                    <a:pt x="604716" y="36160"/>
                    <a:pt x="612331" y="31402"/>
                    <a:pt x="624706" y="27596"/>
                  </a:cubicBezTo>
                  <a:cubicBezTo>
                    <a:pt x="632321" y="22838"/>
                    <a:pt x="644696" y="18080"/>
                    <a:pt x="646599" y="14274"/>
                  </a:cubicBezTo>
                  <a:cubicBezTo>
                    <a:pt x="656118" y="10467"/>
                    <a:pt x="659926" y="8564"/>
                    <a:pt x="669445" y="4758"/>
                  </a:cubicBezTo>
                  <a:cubicBezTo>
                    <a:pt x="666589" y="3806"/>
                    <a:pt x="678012" y="0"/>
                    <a:pt x="673253" y="0"/>
                  </a:cubicBezTo>
                  <a:cubicBezTo>
                    <a:pt x="666589" y="0"/>
                    <a:pt x="666589" y="1903"/>
                    <a:pt x="659926" y="1903"/>
                  </a:cubicBezTo>
                  <a:lnTo>
                    <a:pt x="659926" y="1903"/>
                  </a:lnTo>
                  <a:cubicBezTo>
                    <a:pt x="633273" y="7613"/>
                    <a:pt x="607572" y="15225"/>
                    <a:pt x="581870" y="23789"/>
                  </a:cubicBezTo>
                  <a:cubicBezTo>
                    <a:pt x="565688" y="31402"/>
                    <a:pt x="546650" y="37111"/>
                    <a:pt x="528564" y="44724"/>
                  </a:cubicBezTo>
                  <a:cubicBezTo>
                    <a:pt x="509526" y="52336"/>
                    <a:pt x="489536" y="61852"/>
                    <a:pt x="474306" y="69465"/>
                  </a:cubicBezTo>
                  <a:cubicBezTo>
                    <a:pt x="470498" y="71368"/>
                    <a:pt x="467642" y="71368"/>
                    <a:pt x="463835" y="72319"/>
                  </a:cubicBezTo>
                  <a:cubicBezTo>
                    <a:pt x="449556" y="78980"/>
                    <a:pt x="430518" y="86593"/>
                    <a:pt x="414336" y="94205"/>
                  </a:cubicBezTo>
                  <a:lnTo>
                    <a:pt x="415288" y="94205"/>
                  </a:lnTo>
                  <a:cubicBezTo>
                    <a:pt x="406721" y="98012"/>
                    <a:pt x="399106" y="99915"/>
                    <a:pt x="390538" y="103721"/>
                  </a:cubicBezTo>
                  <a:cubicBezTo>
                    <a:pt x="390538" y="103721"/>
                    <a:pt x="389587" y="104673"/>
                    <a:pt x="388635" y="105624"/>
                  </a:cubicBezTo>
                  <a:cubicBezTo>
                    <a:pt x="386731" y="104673"/>
                    <a:pt x="340088" y="132268"/>
                    <a:pt x="336280" y="132268"/>
                  </a:cubicBezTo>
                  <a:lnTo>
                    <a:pt x="333424" y="134171"/>
                  </a:lnTo>
                  <a:cubicBezTo>
                    <a:pt x="315338" y="141784"/>
                    <a:pt x="295348" y="146542"/>
                    <a:pt x="280118" y="154154"/>
                  </a:cubicBezTo>
                  <a:cubicBezTo>
                    <a:pt x="277262" y="157009"/>
                    <a:pt x="273455" y="158912"/>
                    <a:pt x="271551" y="161767"/>
                  </a:cubicBezTo>
                  <a:cubicBezTo>
                    <a:pt x="268695" y="161767"/>
                    <a:pt x="268695" y="163670"/>
                    <a:pt x="264888" y="165573"/>
                  </a:cubicBezTo>
                  <a:cubicBezTo>
                    <a:pt x="254417" y="165573"/>
                    <a:pt x="250609" y="169379"/>
                    <a:pt x="255369" y="169379"/>
                  </a:cubicBezTo>
                  <a:cubicBezTo>
                    <a:pt x="248705" y="173186"/>
                    <a:pt x="242042" y="176040"/>
                    <a:pt x="235379" y="178895"/>
                  </a:cubicBezTo>
                  <a:cubicBezTo>
                    <a:pt x="232523" y="180798"/>
                    <a:pt x="229667" y="181750"/>
                    <a:pt x="227764" y="183653"/>
                  </a:cubicBezTo>
                  <a:cubicBezTo>
                    <a:pt x="225860" y="185556"/>
                    <a:pt x="223956" y="185556"/>
                    <a:pt x="222052" y="184604"/>
                  </a:cubicBezTo>
                  <a:cubicBezTo>
                    <a:pt x="216341" y="188411"/>
                    <a:pt x="217293" y="186508"/>
                    <a:pt x="210629" y="189362"/>
                  </a:cubicBezTo>
                  <a:cubicBezTo>
                    <a:pt x="208726" y="188411"/>
                    <a:pt x="195399" y="198878"/>
                    <a:pt x="193495" y="199829"/>
                  </a:cubicBezTo>
                  <a:lnTo>
                    <a:pt x="194447" y="198878"/>
                  </a:lnTo>
                  <a:cubicBezTo>
                    <a:pt x="186832" y="202684"/>
                    <a:pt x="181120" y="201733"/>
                    <a:pt x="173505" y="205539"/>
                  </a:cubicBezTo>
                  <a:cubicBezTo>
                    <a:pt x="152563" y="214103"/>
                    <a:pt x="131622" y="225522"/>
                    <a:pt x="112584" y="235038"/>
                  </a:cubicBezTo>
                  <a:cubicBezTo>
                    <a:pt x="112584" y="235989"/>
                    <a:pt x="116391" y="233134"/>
                    <a:pt x="117343" y="234086"/>
                  </a:cubicBezTo>
                  <a:cubicBezTo>
                    <a:pt x="105920" y="238844"/>
                    <a:pt x="94498" y="242650"/>
                    <a:pt x="83075" y="248360"/>
                  </a:cubicBezTo>
                  <a:cubicBezTo>
                    <a:pt x="81171" y="249311"/>
                    <a:pt x="78315" y="249311"/>
                    <a:pt x="77363" y="249311"/>
                  </a:cubicBezTo>
                  <a:cubicBezTo>
                    <a:pt x="73556" y="250263"/>
                    <a:pt x="75460" y="251214"/>
                    <a:pt x="72604" y="252166"/>
                  </a:cubicBezTo>
                  <a:lnTo>
                    <a:pt x="71652" y="251214"/>
                  </a:lnTo>
                  <a:cubicBezTo>
                    <a:pt x="68796" y="254069"/>
                    <a:pt x="64989" y="252166"/>
                    <a:pt x="62133" y="255021"/>
                  </a:cubicBezTo>
                  <a:cubicBezTo>
                    <a:pt x="62133" y="255972"/>
                    <a:pt x="61181" y="255972"/>
                    <a:pt x="59277" y="256924"/>
                  </a:cubicBezTo>
                  <a:cubicBezTo>
                    <a:pt x="58325" y="255972"/>
                    <a:pt x="55470" y="258827"/>
                    <a:pt x="55470" y="257875"/>
                  </a:cubicBezTo>
                  <a:lnTo>
                    <a:pt x="55470" y="257875"/>
                  </a:lnTo>
                  <a:cubicBezTo>
                    <a:pt x="54518" y="257875"/>
                    <a:pt x="54518" y="258827"/>
                    <a:pt x="53566" y="258827"/>
                  </a:cubicBezTo>
                  <a:cubicBezTo>
                    <a:pt x="52614" y="259778"/>
                    <a:pt x="40239" y="270246"/>
                    <a:pt x="39287" y="271197"/>
                  </a:cubicBezTo>
                  <a:lnTo>
                    <a:pt x="38335" y="271197"/>
                  </a:lnTo>
                  <a:cubicBezTo>
                    <a:pt x="36432" y="272149"/>
                    <a:pt x="35480" y="274052"/>
                    <a:pt x="37384" y="273100"/>
                  </a:cubicBezTo>
                  <a:lnTo>
                    <a:pt x="34528" y="274052"/>
                  </a:lnTo>
                  <a:lnTo>
                    <a:pt x="34528" y="274052"/>
                  </a:lnTo>
                  <a:lnTo>
                    <a:pt x="31672" y="275004"/>
                  </a:lnTo>
                  <a:cubicBezTo>
                    <a:pt x="30720" y="275004"/>
                    <a:pt x="30720" y="275004"/>
                    <a:pt x="30720" y="274052"/>
                  </a:cubicBezTo>
                  <a:cubicBezTo>
                    <a:pt x="29768" y="275004"/>
                    <a:pt x="27865" y="275955"/>
                    <a:pt x="26913" y="276907"/>
                  </a:cubicBezTo>
                  <a:cubicBezTo>
                    <a:pt x="31672" y="275955"/>
                    <a:pt x="36432" y="274052"/>
                    <a:pt x="41191" y="274052"/>
                  </a:cubicBezTo>
                  <a:cubicBezTo>
                    <a:pt x="39287" y="275004"/>
                    <a:pt x="36432" y="275955"/>
                    <a:pt x="34528" y="276907"/>
                  </a:cubicBezTo>
                  <a:cubicBezTo>
                    <a:pt x="31672" y="276907"/>
                    <a:pt x="26913" y="278810"/>
                    <a:pt x="23105" y="279761"/>
                  </a:cubicBezTo>
                  <a:cubicBezTo>
                    <a:pt x="22153" y="279761"/>
                    <a:pt x="22153" y="281664"/>
                    <a:pt x="20249" y="281664"/>
                  </a:cubicBezTo>
                  <a:cubicBezTo>
                    <a:pt x="19297" y="280713"/>
                    <a:pt x="18346" y="282616"/>
                    <a:pt x="16442" y="282616"/>
                  </a:cubicBezTo>
                  <a:cubicBezTo>
                    <a:pt x="17394" y="281664"/>
                    <a:pt x="19297" y="280713"/>
                    <a:pt x="21201" y="279761"/>
                  </a:cubicBezTo>
                  <a:cubicBezTo>
                    <a:pt x="20249" y="278810"/>
                    <a:pt x="16442" y="280713"/>
                    <a:pt x="15490" y="281664"/>
                  </a:cubicBezTo>
                  <a:cubicBezTo>
                    <a:pt x="15490" y="282616"/>
                    <a:pt x="11682" y="283568"/>
                    <a:pt x="9778" y="284519"/>
                  </a:cubicBezTo>
                  <a:cubicBezTo>
                    <a:pt x="9778" y="282616"/>
                    <a:pt x="7875" y="284519"/>
                    <a:pt x="5971" y="284519"/>
                  </a:cubicBezTo>
                  <a:cubicBezTo>
                    <a:pt x="4067" y="285471"/>
                    <a:pt x="4067" y="285471"/>
                    <a:pt x="5019" y="286422"/>
                  </a:cubicBezTo>
                  <a:cubicBezTo>
                    <a:pt x="5019" y="288325"/>
                    <a:pt x="10730" y="284519"/>
                    <a:pt x="9778" y="286422"/>
                  </a:cubicBezTo>
                  <a:cubicBezTo>
                    <a:pt x="8827" y="286422"/>
                    <a:pt x="5971" y="287374"/>
                    <a:pt x="5019" y="288325"/>
                  </a:cubicBezTo>
                  <a:cubicBezTo>
                    <a:pt x="5019" y="289277"/>
                    <a:pt x="5971" y="288325"/>
                    <a:pt x="5971" y="289277"/>
                  </a:cubicBezTo>
                  <a:cubicBezTo>
                    <a:pt x="4067" y="290229"/>
                    <a:pt x="3115" y="291180"/>
                    <a:pt x="1211" y="291180"/>
                  </a:cubicBezTo>
                  <a:lnTo>
                    <a:pt x="2163" y="290229"/>
                  </a:lnTo>
                  <a:cubicBezTo>
                    <a:pt x="259" y="291180"/>
                    <a:pt x="11682" y="280713"/>
                    <a:pt x="8827" y="281664"/>
                  </a:cubicBezTo>
                  <a:cubicBezTo>
                    <a:pt x="9778" y="281664"/>
                    <a:pt x="-1644" y="291180"/>
                    <a:pt x="259" y="291180"/>
                  </a:cubicBezTo>
                  <a:cubicBezTo>
                    <a:pt x="2163" y="291180"/>
                    <a:pt x="259" y="293083"/>
                    <a:pt x="1211" y="292132"/>
                  </a:cubicBezTo>
                  <a:lnTo>
                    <a:pt x="2163" y="290229"/>
                  </a:lnTo>
                  <a:cubicBezTo>
                    <a:pt x="4067" y="289277"/>
                    <a:pt x="5019" y="290229"/>
                    <a:pt x="5019" y="291180"/>
                  </a:cubicBezTo>
                  <a:cubicBezTo>
                    <a:pt x="2163" y="292132"/>
                    <a:pt x="11682" y="282616"/>
                    <a:pt x="8827" y="284519"/>
                  </a:cubicBezTo>
                  <a:lnTo>
                    <a:pt x="9778" y="284519"/>
                  </a:lnTo>
                  <a:cubicBezTo>
                    <a:pt x="8827" y="285471"/>
                    <a:pt x="5971" y="287374"/>
                    <a:pt x="5019" y="287374"/>
                  </a:cubicBezTo>
                  <a:cubicBezTo>
                    <a:pt x="5019" y="288325"/>
                    <a:pt x="4067" y="289277"/>
                    <a:pt x="3115" y="290229"/>
                  </a:cubicBezTo>
                  <a:lnTo>
                    <a:pt x="2163" y="290229"/>
                  </a:lnTo>
                  <a:cubicBezTo>
                    <a:pt x="1211" y="291180"/>
                    <a:pt x="-692" y="292132"/>
                    <a:pt x="259" y="292132"/>
                  </a:cubicBezTo>
                  <a:cubicBezTo>
                    <a:pt x="7875" y="288325"/>
                    <a:pt x="-1644" y="300696"/>
                    <a:pt x="5971" y="297841"/>
                  </a:cubicBezTo>
                  <a:cubicBezTo>
                    <a:pt x="2163" y="297841"/>
                    <a:pt x="5971" y="295938"/>
                    <a:pt x="9778" y="294035"/>
                  </a:cubicBezTo>
                  <a:cubicBezTo>
                    <a:pt x="10730" y="294035"/>
                    <a:pt x="11682" y="294035"/>
                    <a:pt x="14538" y="294035"/>
                  </a:cubicBezTo>
                  <a:cubicBezTo>
                    <a:pt x="16442" y="293083"/>
                    <a:pt x="15490" y="293083"/>
                    <a:pt x="15490" y="292132"/>
                  </a:cubicBezTo>
                  <a:cubicBezTo>
                    <a:pt x="16442" y="292132"/>
                    <a:pt x="19297" y="291180"/>
                    <a:pt x="19297" y="292132"/>
                  </a:cubicBezTo>
                  <a:cubicBezTo>
                    <a:pt x="20249" y="290229"/>
                    <a:pt x="22153" y="291180"/>
                    <a:pt x="24057" y="290229"/>
                  </a:cubicBezTo>
                  <a:cubicBezTo>
                    <a:pt x="25961" y="289277"/>
                    <a:pt x="24057" y="290229"/>
                    <a:pt x="25009" y="289277"/>
                  </a:cubicBezTo>
                  <a:cubicBezTo>
                    <a:pt x="27865" y="288325"/>
                    <a:pt x="30720" y="286422"/>
                    <a:pt x="32624" y="285471"/>
                  </a:cubicBezTo>
                  <a:cubicBezTo>
                    <a:pt x="33576" y="285471"/>
                    <a:pt x="36432" y="285471"/>
                    <a:pt x="35480" y="288325"/>
                  </a:cubicBezTo>
                  <a:cubicBezTo>
                    <a:pt x="31672" y="290229"/>
                    <a:pt x="36432" y="285471"/>
                    <a:pt x="32624" y="288325"/>
                  </a:cubicBezTo>
                  <a:cubicBezTo>
                    <a:pt x="35480" y="289277"/>
                    <a:pt x="29768" y="290229"/>
                    <a:pt x="29768" y="292132"/>
                  </a:cubicBezTo>
                  <a:cubicBezTo>
                    <a:pt x="31672" y="292132"/>
                    <a:pt x="33576" y="291180"/>
                    <a:pt x="35480" y="290229"/>
                  </a:cubicBezTo>
                  <a:lnTo>
                    <a:pt x="34528" y="290229"/>
                  </a:lnTo>
                  <a:cubicBezTo>
                    <a:pt x="36432" y="289277"/>
                    <a:pt x="40239" y="287374"/>
                    <a:pt x="42143" y="286422"/>
                  </a:cubicBezTo>
                  <a:cubicBezTo>
                    <a:pt x="42143" y="287374"/>
                    <a:pt x="43095" y="287374"/>
                    <a:pt x="42143" y="288325"/>
                  </a:cubicBezTo>
                  <a:lnTo>
                    <a:pt x="44999" y="287374"/>
                  </a:lnTo>
                  <a:cubicBezTo>
                    <a:pt x="44999" y="287374"/>
                    <a:pt x="44999" y="286422"/>
                    <a:pt x="44999" y="287374"/>
                  </a:cubicBezTo>
                  <a:cubicBezTo>
                    <a:pt x="45951" y="286422"/>
                    <a:pt x="46903" y="286422"/>
                    <a:pt x="48806" y="285471"/>
                  </a:cubicBezTo>
                  <a:cubicBezTo>
                    <a:pt x="49758" y="285471"/>
                    <a:pt x="61181" y="275955"/>
                    <a:pt x="61181" y="276907"/>
                  </a:cubicBezTo>
                  <a:cubicBezTo>
                    <a:pt x="63085" y="275955"/>
                    <a:pt x="64037" y="276907"/>
                    <a:pt x="64989" y="275004"/>
                  </a:cubicBezTo>
                  <a:cubicBezTo>
                    <a:pt x="64989" y="274052"/>
                    <a:pt x="48806" y="285471"/>
                    <a:pt x="50710" y="284519"/>
                  </a:cubicBezTo>
                  <a:cubicBezTo>
                    <a:pt x="52614" y="284519"/>
                    <a:pt x="69748" y="271197"/>
                    <a:pt x="71652" y="272149"/>
                  </a:cubicBezTo>
                  <a:cubicBezTo>
                    <a:pt x="72604" y="271197"/>
                    <a:pt x="74508" y="270246"/>
                    <a:pt x="73556" y="270246"/>
                  </a:cubicBezTo>
                  <a:cubicBezTo>
                    <a:pt x="76411" y="269294"/>
                    <a:pt x="73556" y="272149"/>
                    <a:pt x="75460" y="271197"/>
                  </a:cubicBezTo>
                  <a:lnTo>
                    <a:pt x="75460" y="271197"/>
                  </a:lnTo>
                  <a:lnTo>
                    <a:pt x="77363" y="271197"/>
                  </a:lnTo>
                  <a:cubicBezTo>
                    <a:pt x="80219" y="268343"/>
                    <a:pt x="85930" y="267391"/>
                    <a:pt x="89738" y="264536"/>
                  </a:cubicBezTo>
                  <a:cubicBezTo>
                    <a:pt x="88786" y="265488"/>
                    <a:pt x="88786" y="267391"/>
                    <a:pt x="85930" y="269294"/>
                  </a:cubicBezTo>
                  <a:lnTo>
                    <a:pt x="84979" y="269294"/>
                  </a:lnTo>
                  <a:lnTo>
                    <a:pt x="83075" y="271197"/>
                  </a:lnTo>
                  <a:cubicBezTo>
                    <a:pt x="85930" y="270246"/>
                    <a:pt x="87834" y="269294"/>
                    <a:pt x="89738" y="267391"/>
                  </a:cubicBezTo>
                  <a:cubicBezTo>
                    <a:pt x="90690" y="267391"/>
                    <a:pt x="90690" y="267391"/>
                    <a:pt x="91642" y="267391"/>
                  </a:cubicBezTo>
                  <a:lnTo>
                    <a:pt x="91642" y="267391"/>
                  </a:lnTo>
                  <a:cubicBezTo>
                    <a:pt x="92594" y="267391"/>
                    <a:pt x="92594" y="267391"/>
                    <a:pt x="92594" y="268343"/>
                  </a:cubicBezTo>
                  <a:lnTo>
                    <a:pt x="92594" y="268343"/>
                  </a:lnTo>
                  <a:cubicBezTo>
                    <a:pt x="94498" y="269294"/>
                    <a:pt x="101161" y="262633"/>
                    <a:pt x="105920" y="261681"/>
                  </a:cubicBezTo>
                  <a:cubicBezTo>
                    <a:pt x="106872" y="260730"/>
                    <a:pt x="105920" y="261681"/>
                    <a:pt x="106872" y="259778"/>
                  </a:cubicBezTo>
                  <a:cubicBezTo>
                    <a:pt x="111632" y="258827"/>
                    <a:pt x="114487" y="257875"/>
                    <a:pt x="119247" y="255972"/>
                  </a:cubicBezTo>
                  <a:cubicBezTo>
                    <a:pt x="120199" y="254069"/>
                    <a:pt x="120199" y="254069"/>
                    <a:pt x="118295" y="254069"/>
                  </a:cubicBezTo>
                  <a:lnTo>
                    <a:pt x="122103" y="253117"/>
                  </a:lnTo>
                  <a:cubicBezTo>
                    <a:pt x="120199" y="256924"/>
                    <a:pt x="129718" y="252166"/>
                    <a:pt x="126862" y="255972"/>
                  </a:cubicBezTo>
                  <a:cubicBezTo>
                    <a:pt x="127814" y="255972"/>
                    <a:pt x="129718" y="255021"/>
                    <a:pt x="131622" y="254069"/>
                  </a:cubicBezTo>
                  <a:cubicBezTo>
                    <a:pt x="131622" y="253117"/>
                    <a:pt x="131622" y="252166"/>
                    <a:pt x="133525" y="251214"/>
                  </a:cubicBezTo>
                  <a:cubicBezTo>
                    <a:pt x="137333" y="250263"/>
                    <a:pt x="136381" y="250263"/>
                    <a:pt x="139237" y="249311"/>
                  </a:cubicBezTo>
                  <a:cubicBezTo>
                    <a:pt x="140189" y="249311"/>
                    <a:pt x="139237" y="250263"/>
                    <a:pt x="140189" y="251214"/>
                  </a:cubicBezTo>
                  <a:cubicBezTo>
                    <a:pt x="143996" y="248360"/>
                    <a:pt x="144948" y="251214"/>
                    <a:pt x="148756" y="248360"/>
                  </a:cubicBezTo>
                  <a:cubicBezTo>
                    <a:pt x="151612" y="247408"/>
                    <a:pt x="156371" y="244553"/>
                    <a:pt x="155419" y="243602"/>
                  </a:cubicBezTo>
                  <a:cubicBezTo>
                    <a:pt x="161131" y="236941"/>
                    <a:pt x="161131" y="237892"/>
                    <a:pt x="161131" y="238844"/>
                  </a:cubicBezTo>
                  <a:close/>
                </a:path>
              </a:pathLst>
            </a:custGeom>
            <a:solidFill>
              <a:srgbClr val="144573"/>
            </a:solidFill>
            <a:ln w="95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 sz="1800"/>
            </a:p>
          </p:txBody>
        </p:sp>
        <p:sp>
          <p:nvSpPr>
            <p:cNvPr id="11" name="Kombinationstegning 10">
              <a:extLst>
                <a:ext uri="{FF2B5EF4-FFF2-40B4-BE49-F238E27FC236}">
                  <a16:creationId xmlns:a16="http://schemas.microsoft.com/office/drawing/2014/main" id="{F4F00D4A-85ED-1F45-9352-DB89BAE5780C}"/>
                </a:ext>
              </a:extLst>
            </p:cNvPr>
            <p:cNvSpPr/>
            <p:nvPr/>
          </p:nvSpPr>
          <p:spPr>
            <a:xfrm>
              <a:off x="4230253" y="1614978"/>
              <a:ext cx="327509" cy="227766"/>
            </a:xfrm>
            <a:custGeom>
              <a:avLst/>
              <a:gdLst>
                <a:gd name="connsiteX0" fmla="*/ 139034 w 327509"/>
                <a:gd name="connsiteY0" fmla="*/ 58997 h 227766"/>
                <a:gd name="connsiteX1" fmla="*/ 141889 w 327509"/>
                <a:gd name="connsiteY1" fmla="*/ 58997 h 227766"/>
                <a:gd name="connsiteX2" fmla="*/ 116188 w 327509"/>
                <a:gd name="connsiteY2" fmla="*/ 61852 h 227766"/>
                <a:gd name="connsiteX3" fmla="*/ 170446 w 327509"/>
                <a:gd name="connsiteY3" fmla="*/ 51385 h 227766"/>
                <a:gd name="connsiteX4" fmla="*/ 191388 w 327509"/>
                <a:gd name="connsiteY4" fmla="*/ 54239 h 227766"/>
                <a:gd name="connsiteX5" fmla="*/ 201859 w 327509"/>
                <a:gd name="connsiteY5" fmla="*/ 50433 h 227766"/>
                <a:gd name="connsiteX6" fmla="*/ 194244 w 327509"/>
                <a:gd name="connsiteY6" fmla="*/ 53288 h 227766"/>
                <a:gd name="connsiteX7" fmla="*/ 201859 w 327509"/>
                <a:gd name="connsiteY7" fmla="*/ 50433 h 227766"/>
                <a:gd name="connsiteX8" fmla="*/ 210426 w 327509"/>
                <a:gd name="connsiteY8" fmla="*/ 47578 h 227766"/>
                <a:gd name="connsiteX9" fmla="*/ 218041 w 327509"/>
                <a:gd name="connsiteY9" fmla="*/ 45675 h 227766"/>
                <a:gd name="connsiteX10" fmla="*/ 224705 w 327509"/>
                <a:gd name="connsiteY10" fmla="*/ 43772 h 227766"/>
                <a:gd name="connsiteX11" fmla="*/ 231368 w 327509"/>
                <a:gd name="connsiteY11" fmla="*/ 44724 h 227766"/>
                <a:gd name="connsiteX12" fmla="*/ 231368 w 327509"/>
                <a:gd name="connsiteY12" fmla="*/ 44724 h 227766"/>
                <a:gd name="connsiteX13" fmla="*/ 230416 w 327509"/>
                <a:gd name="connsiteY13" fmla="*/ 45675 h 227766"/>
                <a:gd name="connsiteX14" fmla="*/ 225657 w 327509"/>
                <a:gd name="connsiteY14" fmla="*/ 48530 h 227766"/>
                <a:gd name="connsiteX15" fmla="*/ 219945 w 327509"/>
                <a:gd name="connsiteY15" fmla="*/ 51385 h 227766"/>
                <a:gd name="connsiteX16" fmla="*/ 218993 w 327509"/>
                <a:gd name="connsiteY16" fmla="*/ 51385 h 227766"/>
                <a:gd name="connsiteX17" fmla="*/ 219945 w 327509"/>
                <a:gd name="connsiteY17" fmla="*/ 51385 h 227766"/>
                <a:gd name="connsiteX18" fmla="*/ 220897 w 327509"/>
                <a:gd name="connsiteY18" fmla="*/ 53288 h 227766"/>
                <a:gd name="connsiteX19" fmla="*/ 220897 w 327509"/>
                <a:gd name="connsiteY19" fmla="*/ 53288 h 227766"/>
                <a:gd name="connsiteX20" fmla="*/ 219945 w 327509"/>
                <a:gd name="connsiteY20" fmla="*/ 54239 h 227766"/>
                <a:gd name="connsiteX21" fmla="*/ 218041 w 327509"/>
                <a:gd name="connsiteY21" fmla="*/ 56143 h 227766"/>
                <a:gd name="connsiteX22" fmla="*/ 213282 w 327509"/>
                <a:gd name="connsiteY22" fmla="*/ 60900 h 227766"/>
                <a:gd name="connsiteX23" fmla="*/ 218993 w 327509"/>
                <a:gd name="connsiteY23" fmla="*/ 59949 h 227766"/>
                <a:gd name="connsiteX24" fmla="*/ 215186 w 327509"/>
                <a:gd name="connsiteY24" fmla="*/ 61852 h 227766"/>
                <a:gd name="connsiteX25" fmla="*/ 203763 w 327509"/>
                <a:gd name="connsiteY25" fmla="*/ 75174 h 227766"/>
                <a:gd name="connsiteX26" fmla="*/ 199003 w 327509"/>
                <a:gd name="connsiteY26" fmla="*/ 77077 h 227766"/>
                <a:gd name="connsiteX27" fmla="*/ 199955 w 327509"/>
                <a:gd name="connsiteY27" fmla="*/ 77077 h 227766"/>
                <a:gd name="connsiteX28" fmla="*/ 174254 w 327509"/>
                <a:gd name="connsiteY28" fmla="*/ 98011 h 227766"/>
                <a:gd name="connsiteX29" fmla="*/ 171398 w 327509"/>
                <a:gd name="connsiteY29" fmla="*/ 98963 h 227766"/>
                <a:gd name="connsiteX30" fmla="*/ 164735 w 327509"/>
                <a:gd name="connsiteY30" fmla="*/ 105624 h 227766"/>
                <a:gd name="connsiteX31" fmla="*/ 160927 w 327509"/>
                <a:gd name="connsiteY31" fmla="*/ 105624 h 227766"/>
                <a:gd name="connsiteX32" fmla="*/ 146649 w 327509"/>
                <a:gd name="connsiteY32" fmla="*/ 120849 h 227766"/>
                <a:gd name="connsiteX33" fmla="*/ 91439 w 327509"/>
                <a:gd name="connsiteY33" fmla="*/ 170331 h 227766"/>
                <a:gd name="connsiteX34" fmla="*/ 92391 w 327509"/>
                <a:gd name="connsiteY34" fmla="*/ 170331 h 227766"/>
                <a:gd name="connsiteX35" fmla="*/ 73353 w 327509"/>
                <a:gd name="connsiteY35" fmla="*/ 189362 h 227766"/>
                <a:gd name="connsiteX36" fmla="*/ 60978 w 327509"/>
                <a:gd name="connsiteY36" fmla="*/ 207442 h 227766"/>
                <a:gd name="connsiteX37" fmla="*/ 46699 w 327509"/>
                <a:gd name="connsiteY37" fmla="*/ 222667 h 227766"/>
                <a:gd name="connsiteX38" fmla="*/ 45747 w 327509"/>
                <a:gd name="connsiteY38" fmla="*/ 227425 h 227766"/>
                <a:gd name="connsiteX39" fmla="*/ 55266 w 327509"/>
                <a:gd name="connsiteY39" fmla="*/ 221715 h 227766"/>
                <a:gd name="connsiteX40" fmla="*/ 55266 w 327509"/>
                <a:gd name="connsiteY40" fmla="*/ 221715 h 227766"/>
                <a:gd name="connsiteX41" fmla="*/ 110477 w 327509"/>
                <a:gd name="connsiteY41" fmla="*/ 182701 h 227766"/>
                <a:gd name="connsiteX42" fmla="*/ 146649 w 327509"/>
                <a:gd name="connsiteY42" fmla="*/ 152251 h 227766"/>
                <a:gd name="connsiteX43" fmla="*/ 183773 w 327509"/>
                <a:gd name="connsiteY43" fmla="*/ 118946 h 227766"/>
                <a:gd name="connsiteX44" fmla="*/ 191388 w 327509"/>
                <a:gd name="connsiteY44" fmla="*/ 114188 h 227766"/>
                <a:gd name="connsiteX45" fmla="*/ 226608 w 327509"/>
                <a:gd name="connsiteY45" fmla="*/ 84690 h 227766"/>
                <a:gd name="connsiteX46" fmla="*/ 225657 w 327509"/>
                <a:gd name="connsiteY46" fmla="*/ 84690 h 227766"/>
                <a:gd name="connsiteX47" fmla="*/ 234224 w 327509"/>
                <a:gd name="connsiteY47" fmla="*/ 78029 h 227766"/>
                <a:gd name="connsiteX48" fmla="*/ 238983 w 327509"/>
                <a:gd name="connsiteY48" fmla="*/ 75174 h 227766"/>
                <a:gd name="connsiteX49" fmla="*/ 240887 w 327509"/>
                <a:gd name="connsiteY49" fmla="*/ 73271 h 227766"/>
                <a:gd name="connsiteX50" fmla="*/ 244695 w 327509"/>
                <a:gd name="connsiteY50" fmla="*/ 70416 h 227766"/>
                <a:gd name="connsiteX51" fmla="*/ 246598 w 327509"/>
                <a:gd name="connsiteY51" fmla="*/ 68513 h 227766"/>
                <a:gd name="connsiteX52" fmla="*/ 275155 w 327509"/>
                <a:gd name="connsiteY52" fmla="*/ 43772 h 227766"/>
                <a:gd name="connsiteX53" fmla="*/ 300857 w 327509"/>
                <a:gd name="connsiteY53" fmla="*/ 20934 h 227766"/>
                <a:gd name="connsiteX54" fmla="*/ 302760 w 327509"/>
                <a:gd name="connsiteY54" fmla="*/ 19031 h 227766"/>
                <a:gd name="connsiteX55" fmla="*/ 320847 w 327509"/>
                <a:gd name="connsiteY55" fmla="*/ 5709 h 227766"/>
                <a:gd name="connsiteX56" fmla="*/ 325606 w 327509"/>
                <a:gd name="connsiteY56" fmla="*/ 1903 h 227766"/>
                <a:gd name="connsiteX57" fmla="*/ 326558 w 327509"/>
                <a:gd name="connsiteY57" fmla="*/ 951 h 227766"/>
                <a:gd name="connsiteX58" fmla="*/ 327510 w 327509"/>
                <a:gd name="connsiteY58" fmla="*/ 0 h 227766"/>
                <a:gd name="connsiteX59" fmla="*/ 325606 w 327509"/>
                <a:gd name="connsiteY59" fmla="*/ 0 h 227766"/>
                <a:gd name="connsiteX60" fmla="*/ 318943 w 327509"/>
                <a:gd name="connsiteY60" fmla="*/ 0 h 227766"/>
                <a:gd name="connsiteX61" fmla="*/ 285626 w 327509"/>
                <a:gd name="connsiteY61" fmla="*/ 3806 h 227766"/>
                <a:gd name="connsiteX62" fmla="*/ 265636 w 327509"/>
                <a:gd name="connsiteY62" fmla="*/ 10467 h 227766"/>
                <a:gd name="connsiteX63" fmla="*/ 255165 w 327509"/>
                <a:gd name="connsiteY63" fmla="*/ 13322 h 227766"/>
                <a:gd name="connsiteX64" fmla="*/ 244695 w 327509"/>
                <a:gd name="connsiteY64" fmla="*/ 12370 h 227766"/>
                <a:gd name="connsiteX65" fmla="*/ 243743 w 327509"/>
                <a:gd name="connsiteY65" fmla="*/ 14274 h 227766"/>
                <a:gd name="connsiteX66" fmla="*/ 216138 w 327509"/>
                <a:gd name="connsiteY66" fmla="*/ 19983 h 227766"/>
                <a:gd name="connsiteX67" fmla="*/ 213282 w 327509"/>
                <a:gd name="connsiteY67" fmla="*/ 20934 h 227766"/>
                <a:gd name="connsiteX68" fmla="*/ 211378 w 327509"/>
                <a:gd name="connsiteY68" fmla="*/ 21886 h 227766"/>
                <a:gd name="connsiteX69" fmla="*/ 207570 w 327509"/>
                <a:gd name="connsiteY69" fmla="*/ 22838 h 227766"/>
                <a:gd name="connsiteX70" fmla="*/ 202811 w 327509"/>
                <a:gd name="connsiteY70" fmla="*/ 22838 h 227766"/>
                <a:gd name="connsiteX71" fmla="*/ 192340 w 327509"/>
                <a:gd name="connsiteY71" fmla="*/ 23789 h 227766"/>
                <a:gd name="connsiteX72" fmla="*/ 176158 w 327509"/>
                <a:gd name="connsiteY72" fmla="*/ 28547 h 227766"/>
                <a:gd name="connsiteX73" fmla="*/ 177110 w 327509"/>
                <a:gd name="connsiteY73" fmla="*/ 28547 h 227766"/>
                <a:gd name="connsiteX74" fmla="*/ 159024 w 327509"/>
                <a:gd name="connsiteY74" fmla="*/ 28547 h 227766"/>
                <a:gd name="connsiteX75" fmla="*/ 102861 w 327509"/>
                <a:gd name="connsiteY75" fmla="*/ 37111 h 227766"/>
                <a:gd name="connsiteX76" fmla="*/ 106669 w 327509"/>
                <a:gd name="connsiteY76" fmla="*/ 38063 h 227766"/>
                <a:gd name="connsiteX77" fmla="*/ 76208 w 327509"/>
                <a:gd name="connsiteY77" fmla="*/ 39966 h 227766"/>
                <a:gd name="connsiteX78" fmla="*/ 71449 w 327509"/>
                <a:gd name="connsiteY78" fmla="*/ 39014 h 227766"/>
                <a:gd name="connsiteX79" fmla="*/ 67641 w 327509"/>
                <a:gd name="connsiteY79" fmla="*/ 39966 h 227766"/>
                <a:gd name="connsiteX80" fmla="*/ 66689 w 327509"/>
                <a:gd name="connsiteY80" fmla="*/ 39014 h 227766"/>
                <a:gd name="connsiteX81" fmla="*/ 58122 w 327509"/>
                <a:gd name="connsiteY81" fmla="*/ 39014 h 227766"/>
                <a:gd name="connsiteX82" fmla="*/ 55266 w 327509"/>
                <a:gd name="connsiteY82" fmla="*/ 39966 h 227766"/>
                <a:gd name="connsiteX83" fmla="*/ 51459 w 327509"/>
                <a:gd name="connsiteY83" fmla="*/ 39014 h 227766"/>
                <a:gd name="connsiteX84" fmla="*/ 51459 w 327509"/>
                <a:gd name="connsiteY84" fmla="*/ 39014 h 227766"/>
                <a:gd name="connsiteX85" fmla="*/ 49555 w 327509"/>
                <a:gd name="connsiteY85" fmla="*/ 39014 h 227766"/>
                <a:gd name="connsiteX86" fmla="*/ 35277 w 327509"/>
                <a:gd name="connsiteY86" fmla="*/ 45675 h 227766"/>
                <a:gd name="connsiteX87" fmla="*/ 34325 w 327509"/>
                <a:gd name="connsiteY87" fmla="*/ 45675 h 227766"/>
                <a:gd name="connsiteX88" fmla="*/ 32421 w 327509"/>
                <a:gd name="connsiteY88" fmla="*/ 47578 h 227766"/>
                <a:gd name="connsiteX89" fmla="*/ 30517 w 327509"/>
                <a:gd name="connsiteY89" fmla="*/ 47578 h 227766"/>
                <a:gd name="connsiteX90" fmla="*/ 30517 w 327509"/>
                <a:gd name="connsiteY90" fmla="*/ 47578 h 227766"/>
                <a:gd name="connsiteX91" fmla="*/ 28613 w 327509"/>
                <a:gd name="connsiteY91" fmla="*/ 47578 h 227766"/>
                <a:gd name="connsiteX92" fmla="*/ 28613 w 327509"/>
                <a:gd name="connsiteY92" fmla="*/ 46627 h 227766"/>
                <a:gd name="connsiteX93" fmla="*/ 24806 w 327509"/>
                <a:gd name="connsiteY93" fmla="*/ 47578 h 227766"/>
                <a:gd name="connsiteX94" fmla="*/ 37180 w 327509"/>
                <a:gd name="connsiteY94" fmla="*/ 49482 h 227766"/>
                <a:gd name="connsiteX95" fmla="*/ 31469 w 327509"/>
                <a:gd name="connsiteY95" fmla="*/ 50433 h 227766"/>
                <a:gd name="connsiteX96" fmla="*/ 21950 w 327509"/>
                <a:gd name="connsiteY96" fmla="*/ 49482 h 227766"/>
                <a:gd name="connsiteX97" fmla="*/ 19094 w 327509"/>
                <a:gd name="connsiteY97" fmla="*/ 50433 h 227766"/>
                <a:gd name="connsiteX98" fmla="*/ 16239 w 327509"/>
                <a:gd name="connsiteY98" fmla="*/ 50433 h 227766"/>
                <a:gd name="connsiteX99" fmla="*/ 20998 w 327509"/>
                <a:gd name="connsiteY99" fmla="*/ 49482 h 227766"/>
                <a:gd name="connsiteX100" fmla="*/ 16239 w 327509"/>
                <a:gd name="connsiteY100" fmla="*/ 48530 h 227766"/>
                <a:gd name="connsiteX101" fmla="*/ 10527 w 327509"/>
                <a:gd name="connsiteY101" fmla="*/ 49482 h 227766"/>
                <a:gd name="connsiteX102" fmla="*/ 7672 w 327509"/>
                <a:gd name="connsiteY102" fmla="*/ 48530 h 227766"/>
                <a:gd name="connsiteX103" fmla="*/ 5768 w 327509"/>
                <a:gd name="connsiteY103" fmla="*/ 49482 h 227766"/>
                <a:gd name="connsiteX104" fmla="*/ 9575 w 327509"/>
                <a:gd name="connsiteY104" fmla="*/ 51385 h 227766"/>
                <a:gd name="connsiteX105" fmla="*/ 4816 w 327509"/>
                <a:gd name="connsiteY105" fmla="*/ 51385 h 227766"/>
                <a:gd name="connsiteX106" fmla="*/ 4816 w 327509"/>
                <a:gd name="connsiteY106" fmla="*/ 52336 h 227766"/>
                <a:gd name="connsiteX107" fmla="*/ 1008 w 327509"/>
                <a:gd name="connsiteY107" fmla="*/ 52336 h 227766"/>
                <a:gd name="connsiteX108" fmla="*/ 1960 w 327509"/>
                <a:gd name="connsiteY108" fmla="*/ 52336 h 227766"/>
                <a:gd name="connsiteX109" fmla="*/ 9575 w 327509"/>
                <a:gd name="connsiteY109" fmla="*/ 47578 h 227766"/>
                <a:gd name="connsiteX110" fmla="*/ 56 w 327509"/>
                <a:gd name="connsiteY110" fmla="*/ 52336 h 227766"/>
                <a:gd name="connsiteX111" fmla="*/ 1008 w 327509"/>
                <a:gd name="connsiteY111" fmla="*/ 54239 h 227766"/>
                <a:gd name="connsiteX112" fmla="*/ 1960 w 327509"/>
                <a:gd name="connsiteY112" fmla="*/ 53288 h 227766"/>
                <a:gd name="connsiteX113" fmla="*/ 3864 w 327509"/>
                <a:gd name="connsiteY113" fmla="*/ 55191 h 227766"/>
                <a:gd name="connsiteX114" fmla="*/ 9575 w 327509"/>
                <a:gd name="connsiteY114" fmla="*/ 50433 h 227766"/>
                <a:gd name="connsiteX115" fmla="*/ 10527 w 327509"/>
                <a:gd name="connsiteY115" fmla="*/ 50433 h 227766"/>
                <a:gd name="connsiteX116" fmla="*/ 5768 w 327509"/>
                <a:gd name="connsiteY116" fmla="*/ 51385 h 227766"/>
                <a:gd name="connsiteX117" fmla="*/ 2912 w 327509"/>
                <a:gd name="connsiteY117" fmla="*/ 53288 h 227766"/>
                <a:gd name="connsiteX118" fmla="*/ 2912 w 327509"/>
                <a:gd name="connsiteY118" fmla="*/ 53288 h 227766"/>
                <a:gd name="connsiteX119" fmla="*/ 1008 w 327509"/>
                <a:gd name="connsiteY119" fmla="*/ 54239 h 227766"/>
                <a:gd name="connsiteX120" fmla="*/ 3864 w 327509"/>
                <a:gd name="connsiteY120" fmla="*/ 61852 h 227766"/>
                <a:gd name="connsiteX121" fmla="*/ 7672 w 327509"/>
                <a:gd name="connsiteY121" fmla="*/ 59949 h 227766"/>
                <a:gd name="connsiteX122" fmla="*/ 11479 w 327509"/>
                <a:gd name="connsiteY122" fmla="*/ 61852 h 227766"/>
                <a:gd name="connsiteX123" fmla="*/ 12431 w 327509"/>
                <a:gd name="connsiteY123" fmla="*/ 60900 h 227766"/>
                <a:gd name="connsiteX124" fmla="*/ 15287 w 327509"/>
                <a:gd name="connsiteY124" fmla="*/ 61852 h 227766"/>
                <a:gd name="connsiteX125" fmla="*/ 19094 w 327509"/>
                <a:gd name="connsiteY125" fmla="*/ 61852 h 227766"/>
                <a:gd name="connsiteX126" fmla="*/ 20046 w 327509"/>
                <a:gd name="connsiteY126" fmla="*/ 60900 h 227766"/>
                <a:gd name="connsiteX127" fmla="*/ 27661 w 327509"/>
                <a:gd name="connsiteY127" fmla="*/ 60900 h 227766"/>
                <a:gd name="connsiteX128" fmla="*/ 29565 w 327509"/>
                <a:gd name="connsiteY128" fmla="*/ 63755 h 227766"/>
                <a:gd name="connsiteX129" fmla="*/ 26709 w 327509"/>
                <a:gd name="connsiteY129" fmla="*/ 61852 h 227766"/>
                <a:gd name="connsiteX130" fmla="*/ 22902 w 327509"/>
                <a:gd name="connsiteY130" fmla="*/ 63755 h 227766"/>
                <a:gd name="connsiteX131" fmla="*/ 28613 w 327509"/>
                <a:gd name="connsiteY131" fmla="*/ 63755 h 227766"/>
                <a:gd name="connsiteX132" fmla="*/ 28613 w 327509"/>
                <a:gd name="connsiteY132" fmla="*/ 63755 h 227766"/>
                <a:gd name="connsiteX133" fmla="*/ 35277 w 327509"/>
                <a:gd name="connsiteY133" fmla="*/ 63755 h 227766"/>
                <a:gd name="connsiteX134" fmla="*/ 34325 w 327509"/>
                <a:gd name="connsiteY134" fmla="*/ 64707 h 227766"/>
                <a:gd name="connsiteX135" fmla="*/ 37180 w 327509"/>
                <a:gd name="connsiteY135" fmla="*/ 64707 h 227766"/>
                <a:gd name="connsiteX136" fmla="*/ 37180 w 327509"/>
                <a:gd name="connsiteY136" fmla="*/ 63755 h 227766"/>
                <a:gd name="connsiteX137" fmla="*/ 40036 w 327509"/>
                <a:gd name="connsiteY137" fmla="*/ 63755 h 227766"/>
                <a:gd name="connsiteX138" fmla="*/ 52411 w 327509"/>
                <a:gd name="connsiteY138" fmla="*/ 59949 h 227766"/>
                <a:gd name="connsiteX139" fmla="*/ 56218 w 327509"/>
                <a:gd name="connsiteY139" fmla="*/ 59949 h 227766"/>
                <a:gd name="connsiteX140" fmla="*/ 42892 w 327509"/>
                <a:gd name="connsiteY140" fmla="*/ 63755 h 227766"/>
                <a:gd name="connsiteX141" fmla="*/ 62882 w 327509"/>
                <a:gd name="connsiteY141" fmla="*/ 58997 h 227766"/>
                <a:gd name="connsiteX142" fmla="*/ 64785 w 327509"/>
                <a:gd name="connsiteY142" fmla="*/ 58046 h 227766"/>
                <a:gd name="connsiteX143" fmla="*/ 65737 w 327509"/>
                <a:gd name="connsiteY143" fmla="*/ 59949 h 227766"/>
                <a:gd name="connsiteX144" fmla="*/ 65737 w 327509"/>
                <a:gd name="connsiteY144" fmla="*/ 59949 h 227766"/>
                <a:gd name="connsiteX145" fmla="*/ 67641 w 327509"/>
                <a:gd name="connsiteY145" fmla="*/ 60900 h 227766"/>
                <a:gd name="connsiteX146" fmla="*/ 79064 w 327509"/>
                <a:gd name="connsiteY146" fmla="*/ 58046 h 227766"/>
                <a:gd name="connsiteX147" fmla="*/ 75256 w 327509"/>
                <a:gd name="connsiteY147" fmla="*/ 60900 h 227766"/>
                <a:gd name="connsiteX148" fmla="*/ 75256 w 327509"/>
                <a:gd name="connsiteY148" fmla="*/ 60900 h 227766"/>
                <a:gd name="connsiteX149" fmla="*/ 73353 w 327509"/>
                <a:gd name="connsiteY149" fmla="*/ 61852 h 227766"/>
                <a:gd name="connsiteX150" fmla="*/ 79064 w 327509"/>
                <a:gd name="connsiteY150" fmla="*/ 60900 h 227766"/>
                <a:gd name="connsiteX151" fmla="*/ 80016 w 327509"/>
                <a:gd name="connsiteY151" fmla="*/ 60900 h 227766"/>
                <a:gd name="connsiteX152" fmla="*/ 80016 w 327509"/>
                <a:gd name="connsiteY152" fmla="*/ 60900 h 227766"/>
                <a:gd name="connsiteX153" fmla="*/ 80968 w 327509"/>
                <a:gd name="connsiteY153" fmla="*/ 61852 h 227766"/>
                <a:gd name="connsiteX154" fmla="*/ 80968 w 327509"/>
                <a:gd name="connsiteY154" fmla="*/ 61852 h 227766"/>
                <a:gd name="connsiteX155" fmla="*/ 93342 w 327509"/>
                <a:gd name="connsiteY155" fmla="*/ 59949 h 227766"/>
                <a:gd name="connsiteX156" fmla="*/ 94294 w 327509"/>
                <a:gd name="connsiteY156" fmla="*/ 58997 h 227766"/>
                <a:gd name="connsiteX157" fmla="*/ 105717 w 327509"/>
                <a:gd name="connsiteY157" fmla="*/ 58997 h 227766"/>
                <a:gd name="connsiteX158" fmla="*/ 104765 w 327509"/>
                <a:gd name="connsiteY158" fmla="*/ 57094 h 227766"/>
                <a:gd name="connsiteX159" fmla="*/ 107621 w 327509"/>
                <a:gd name="connsiteY159" fmla="*/ 57094 h 227766"/>
                <a:gd name="connsiteX160" fmla="*/ 111429 w 327509"/>
                <a:gd name="connsiteY160" fmla="*/ 60900 h 227766"/>
                <a:gd name="connsiteX161" fmla="*/ 116188 w 327509"/>
                <a:gd name="connsiteY161" fmla="*/ 60900 h 227766"/>
                <a:gd name="connsiteX162" fmla="*/ 119044 w 327509"/>
                <a:gd name="connsiteY162" fmla="*/ 58997 h 227766"/>
                <a:gd name="connsiteX163" fmla="*/ 123803 w 327509"/>
                <a:gd name="connsiteY163" fmla="*/ 58997 h 227766"/>
                <a:gd name="connsiteX164" fmla="*/ 123803 w 327509"/>
                <a:gd name="connsiteY164" fmla="*/ 60900 h 227766"/>
                <a:gd name="connsiteX165" fmla="*/ 131418 w 327509"/>
                <a:gd name="connsiteY165" fmla="*/ 60900 h 227766"/>
                <a:gd name="connsiteX166" fmla="*/ 138082 w 327509"/>
                <a:gd name="connsiteY166" fmla="*/ 58046 h 227766"/>
                <a:gd name="connsiteX167" fmla="*/ 139034 w 327509"/>
                <a:gd name="connsiteY167" fmla="*/ 58997 h 227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</a:cxnLst>
              <a:rect l="l" t="t" r="r" b="b"/>
              <a:pathLst>
                <a:path w="327509" h="227766">
                  <a:moveTo>
                    <a:pt x="139034" y="58997"/>
                  </a:moveTo>
                  <a:lnTo>
                    <a:pt x="141889" y="58997"/>
                  </a:lnTo>
                  <a:cubicBezTo>
                    <a:pt x="133322" y="60900"/>
                    <a:pt x="124755" y="60900"/>
                    <a:pt x="116188" y="61852"/>
                  </a:cubicBezTo>
                  <a:cubicBezTo>
                    <a:pt x="135226" y="63755"/>
                    <a:pt x="158072" y="63755"/>
                    <a:pt x="170446" y="51385"/>
                  </a:cubicBezTo>
                  <a:cubicBezTo>
                    <a:pt x="173302" y="56143"/>
                    <a:pt x="191388" y="55191"/>
                    <a:pt x="191388" y="54239"/>
                  </a:cubicBezTo>
                  <a:cubicBezTo>
                    <a:pt x="195196" y="52336"/>
                    <a:pt x="199003" y="51385"/>
                    <a:pt x="201859" y="50433"/>
                  </a:cubicBezTo>
                  <a:cubicBezTo>
                    <a:pt x="199003" y="51385"/>
                    <a:pt x="197100" y="52336"/>
                    <a:pt x="194244" y="53288"/>
                  </a:cubicBezTo>
                  <a:cubicBezTo>
                    <a:pt x="197100" y="52336"/>
                    <a:pt x="199003" y="51385"/>
                    <a:pt x="201859" y="50433"/>
                  </a:cubicBezTo>
                  <a:cubicBezTo>
                    <a:pt x="204715" y="49482"/>
                    <a:pt x="207570" y="48530"/>
                    <a:pt x="210426" y="47578"/>
                  </a:cubicBezTo>
                  <a:cubicBezTo>
                    <a:pt x="213282" y="46627"/>
                    <a:pt x="217089" y="45675"/>
                    <a:pt x="218041" y="45675"/>
                  </a:cubicBezTo>
                  <a:cubicBezTo>
                    <a:pt x="219945" y="44724"/>
                    <a:pt x="222801" y="44724"/>
                    <a:pt x="224705" y="43772"/>
                  </a:cubicBezTo>
                  <a:cubicBezTo>
                    <a:pt x="228512" y="42821"/>
                    <a:pt x="231368" y="43772"/>
                    <a:pt x="231368" y="44724"/>
                  </a:cubicBezTo>
                  <a:lnTo>
                    <a:pt x="231368" y="44724"/>
                  </a:lnTo>
                  <a:cubicBezTo>
                    <a:pt x="231368" y="44724"/>
                    <a:pt x="232320" y="44724"/>
                    <a:pt x="230416" y="45675"/>
                  </a:cubicBezTo>
                  <a:cubicBezTo>
                    <a:pt x="228512" y="46627"/>
                    <a:pt x="227560" y="47578"/>
                    <a:pt x="225657" y="48530"/>
                  </a:cubicBezTo>
                  <a:cubicBezTo>
                    <a:pt x="222801" y="50433"/>
                    <a:pt x="220897" y="51385"/>
                    <a:pt x="219945" y="51385"/>
                  </a:cubicBezTo>
                  <a:lnTo>
                    <a:pt x="218993" y="51385"/>
                  </a:lnTo>
                  <a:cubicBezTo>
                    <a:pt x="219945" y="51385"/>
                    <a:pt x="219945" y="51385"/>
                    <a:pt x="219945" y="51385"/>
                  </a:cubicBezTo>
                  <a:cubicBezTo>
                    <a:pt x="220897" y="51385"/>
                    <a:pt x="220897" y="52336"/>
                    <a:pt x="220897" y="53288"/>
                  </a:cubicBezTo>
                  <a:lnTo>
                    <a:pt x="220897" y="53288"/>
                  </a:lnTo>
                  <a:lnTo>
                    <a:pt x="219945" y="54239"/>
                  </a:lnTo>
                  <a:lnTo>
                    <a:pt x="218041" y="56143"/>
                  </a:lnTo>
                  <a:cubicBezTo>
                    <a:pt x="216138" y="58046"/>
                    <a:pt x="215186" y="58997"/>
                    <a:pt x="213282" y="60900"/>
                  </a:cubicBezTo>
                  <a:cubicBezTo>
                    <a:pt x="215186" y="60900"/>
                    <a:pt x="215186" y="60900"/>
                    <a:pt x="218993" y="59949"/>
                  </a:cubicBezTo>
                  <a:lnTo>
                    <a:pt x="215186" y="61852"/>
                  </a:lnTo>
                  <a:cubicBezTo>
                    <a:pt x="213282" y="65658"/>
                    <a:pt x="206619" y="71368"/>
                    <a:pt x="203763" y="75174"/>
                  </a:cubicBezTo>
                  <a:cubicBezTo>
                    <a:pt x="203763" y="74222"/>
                    <a:pt x="200907" y="76126"/>
                    <a:pt x="199003" y="77077"/>
                  </a:cubicBezTo>
                  <a:lnTo>
                    <a:pt x="199955" y="77077"/>
                  </a:lnTo>
                  <a:cubicBezTo>
                    <a:pt x="191388" y="83738"/>
                    <a:pt x="181869" y="92302"/>
                    <a:pt x="174254" y="98011"/>
                  </a:cubicBezTo>
                  <a:cubicBezTo>
                    <a:pt x="173302" y="98963"/>
                    <a:pt x="172350" y="98963"/>
                    <a:pt x="171398" y="98963"/>
                  </a:cubicBezTo>
                  <a:lnTo>
                    <a:pt x="164735" y="105624"/>
                  </a:lnTo>
                  <a:cubicBezTo>
                    <a:pt x="164735" y="103721"/>
                    <a:pt x="158072" y="109430"/>
                    <a:pt x="160927" y="105624"/>
                  </a:cubicBezTo>
                  <a:cubicBezTo>
                    <a:pt x="156168" y="111334"/>
                    <a:pt x="150456" y="115140"/>
                    <a:pt x="146649" y="120849"/>
                  </a:cubicBezTo>
                  <a:cubicBezTo>
                    <a:pt x="127611" y="136074"/>
                    <a:pt x="108573" y="153203"/>
                    <a:pt x="91439" y="170331"/>
                  </a:cubicBezTo>
                  <a:lnTo>
                    <a:pt x="92391" y="170331"/>
                  </a:lnTo>
                  <a:cubicBezTo>
                    <a:pt x="86679" y="176992"/>
                    <a:pt x="81920" y="183653"/>
                    <a:pt x="73353" y="189362"/>
                  </a:cubicBezTo>
                  <a:cubicBezTo>
                    <a:pt x="68593" y="196023"/>
                    <a:pt x="60978" y="203636"/>
                    <a:pt x="60978" y="207442"/>
                  </a:cubicBezTo>
                  <a:cubicBezTo>
                    <a:pt x="54315" y="213151"/>
                    <a:pt x="52411" y="216958"/>
                    <a:pt x="46699" y="222667"/>
                  </a:cubicBezTo>
                  <a:cubicBezTo>
                    <a:pt x="49555" y="222667"/>
                    <a:pt x="41940" y="229328"/>
                    <a:pt x="45747" y="227425"/>
                  </a:cubicBezTo>
                  <a:cubicBezTo>
                    <a:pt x="51459" y="225522"/>
                    <a:pt x="50507" y="223619"/>
                    <a:pt x="55266" y="221715"/>
                  </a:cubicBezTo>
                  <a:lnTo>
                    <a:pt x="55266" y="221715"/>
                  </a:lnTo>
                  <a:cubicBezTo>
                    <a:pt x="74304" y="209345"/>
                    <a:pt x="92391" y="196023"/>
                    <a:pt x="110477" y="182701"/>
                  </a:cubicBezTo>
                  <a:cubicBezTo>
                    <a:pt x="121899" y="172234"/>
                    <a:pt x="135226" y="162718"/>
                    <a:pt x="146649" y="152251"/>
                  </a:cubicBezTo>
                  <a:cubicBezTo>
                    <a:pt x="159024" y="140832"/>
                    <a:pt x="173302" y="128462"/>
                    <a:pt x="183773" y="118946"/>
                  </a:cubicBezTo>
                  <a:cubicBezTo>
                    <a:pt x="186629" y="116091"/>
                    <a:pt x="188532" y="116091"/>
                    <a:pt x="191388" y="114188"/>
                  </a:cubicBezTo>
                  <a:cubicBezTo>
                    <a:pt x="200907" y="105624"/>
                    <a:pt x="215186" y="95157"/>
                    <a:pt x="226608" y="84690"/>
                  </a:cubicBezTo>
                  <a:cubicBezTo>
                    <a:pt x="226608" y="84690"/>
                    <a:pt x="226608" y="84690"/>
                    <a:pt x="225657" y="84690"/>
                  </a:cubicBezTo>
                  <a:cubicBezTo>
                    <a:pt x="228512" y="81835"/>
                    <a:pt x="231368" y="79932"/>
                    <a:pt x="234224" y="78029"/>
                  </a:cubicBezTo>
                  <a:lnTo>
                    <a:pt x="238983" y="75174"/>
                  </a:lnTo>
                  <a:lnTo>
                    <a:pt x="240887" y="73271"/>
                  </a:lnTo>
                  <a:cubicBezTo>
                    <a:pt x="241839" y="72319"/>
                    <a:pt x="243743" y="71368"/>
                    <a:pt x="244695" y="70416"/>
                  </a:cubicBezTo>
                  <a:cubicBezTo>
                    <a:pt x="244695" y="70416"/>
                    <a:pt x="245646" y="68513"/>
                    <a:pt x="246598" y="68513"/>
                  </a:cubicBezTo>
                  <a:cubicBezTo>
                    <a:pt x="248502" y="68513"/>
                    <a:pt x="262781" y="55191"/>
                    <a:pt x="275155" y="43772"/>
                  </a:cubicBezTo>
                  <a:cubicBezTo>
                    <a:pt x="287530" y="32353"/>
                    <a:pt x="297049" y="22838"/>
                    <a:pt x="300857" y="20934"/>
                  </a:cubicBezTo>
                  <a:lnTo>
                    <a:pt x="302760" y="19031"/>
                  </a:lnTo>
                  <a:cubicBezTo>
                    <a:pt x="308472" y="15225"/>
                    <a:pt x="314183" y="10467"/>
                    <a:pt x="320847" y="5709"/>
                  </a:cubicBezTo>
                  <a:lnTo>
                    <a:pt x="325606" y="1903"/>
                  </a:lnTo>
                  <a:lnTo>
                    <a:pt x="326558" y="951"/>
                  </a:lnTo>
                  <a:lnTo>
                    <a:pt x="327510" y="0"/>
                  </a:lnTo>
                  <a:lnTo>
                    <a:pt x="325606" y="0"/>
                  </a:lnTo>
                  <a:cubicBezTo>
                    <a:pt x="323702" y="0"/>
                    <a:pt x="320847" y="0"/>
                    <a:pt x="318943" y="0"/>
                  </a:cubicBezTo>
                  <a:cubicBezTo>
                    <a:pt x="309424" y="951"/>
                    <a:pt x="298001" y="1903"/>
                    <a:pt x="285626" y="3806"/>
                  </a:cubicBezTo>
                  <a:cubicBezTo>
                    <a:pt x="278963" y="5709"/>
                    <a:pt x="271348" y="7612"/>
                    <a:pt x="265636" y="10467"/>
                  </a:cubicBezTo>
                  <a:cubicBezTo>
                    <a:pt x="262781" y="10467"/>
                    <a:pt x="259925" y="12370"/>
                    <a:pt x="255165" y="13322"/>
                  </a:cubicBezTo>
                  <a:cubicBezTo>
                    <a:pt x="251358" y="11419"/>
                    <a:pt x="246598" y="12370"/>
                    <a:pt x="244695" y="12370"/>
                  </a:cubicBezTo>
                  <a:cubicBezTo>
                    <a:pt x="241839" y="13322"/>
                    <a:pt x="240887" y="14274"/>
                    <a:pt x="243743" y="14274"/>
                  </a:cubicBezTo>
                  <a:cubicBezTo>
                    <a:pt x="233272" y="17128"/>
                    <a:pt x="224705" y="18080"/>
                    <a:pt x="216138" y="19983"/>
                  </a:cubicBezTo>
                  <a:lnTo>
                    <a:pt x="213282" y="20934"/>
                  </a:lnTo>
                  <a:lnTo>
                    <a:pt x="211378" y="21886"/>
                  </a:lnTo>
                  <a:cubicBezTo>
                    <a:pt x="210426" y="21886"/>
                    <a:pt x="208522" y="22838"/>
                    <a:pt x="207570" y="22838"/>
                  </a:cubicBezTo>
                  <a:cubicBezTo>
                    <a:pt x="205667" y="23789"/>
                    <a:pt x="203763" y="22838"/>
                    <a:pt x="202811" y="22838"/>
                  </a:cubicBezTo>
                  <a:cubicBezTo>
                    <a:pt x="197100" y="24741"/>
                    <a:pt x="199003" y="22838"/>
                    <a:pt x="192340" y="23789"/>
                  </a:cubicBezTo>
                  <a:cubicBezTo>
                    <a:pt x="190436" y="22838"/>
                    <a:pt x="178062" y="28547"/>
                    <a:pt x="176158" y="28547"/>
                  </a:cubicBezTo>
                  <a:lnTo>
                    <a:pt x="177110" y="28547"/>
                  </a:lnTo>
                  <a:cubicBezTo>
                    <a:pt x="170446" y="29499"/>
                    <a:pt x="165687" y="27595"/>
                    <a:pt x="159024" y="28547"/>
                  </a:cubicBezTo>
                  <a:cubicBezTo>
                    <a:pt x="139986" y="30450"/>
                    <a:pt x="119996" y="35208"/>
                    <a:pt x="102861" y="37111"/>
                  </a:cubicBezTo>
                  <a:cubicBezTo>
                    <a:pt x="102861" y="39014"/>
                    <a:pt x="106669" y="36160"/>
                    <a:pt x="106669" y="38063"/>
                  </a:cubicBezTo>
                  <a:cubicBezTo>
                    <a:pt x="96198" y="39014"/>
                    <a:pt x="85727" y="39014"/>
                    <a:pt x="76208" y="39966"/>
                  </a:cubicBezTo>
                  <a:cubicBezTo>
                    <a:pt x="74304" y="39966"/>
                    <a:pt x="72401" y="39014"/>
                    <a:pt x="71449" y="39014"/>
                  </a:cubicBezTo>
                  <a:cubicBezTo>
                    <a:pt x="68593" y="39014"/>
                    <a:pt x="69545" y="39966"/>
                    <a:pt x="67641" y="39966"/>
                  </a:cubicBezTo>
                  <a:lnTo>
                    <a:pt x="66689" y="39014"/>
                  </a:lnTo>
                  <a:cubicBezTo>
                    <a:pt x="62882" y="40917"/>
                    <a:pt x="60978" y="38063"/>
                    <a:pt x="58122" y="39014"/>
                  </a:cubicBezTo>
                  <a:cubicBezTo>
                    <a:pt x="58122" y="39966"/>
                    <a:pt x="57170" y="39966"/>
                    <a:pt x="55266" y="39966"/>
                  </a:cubicBezTo>
                  <a:cubicBezTo>
                    <a:pt x="55266" y="39014"/>
                    <a:pt x="51459" y="40917"/>
                    <a:pt x="51459" y="39014"/>
                  </a:cubicBezTo>
                  <a:lnTo>
                    <a:pt x="51459" y="39014"/>
                  </a:lnTo>
                  <a:cubicBezTo>
                    <a:pt x="50507" y="39014"/>
                    <a:pt x="50507" y="39014"/>
                    <a:pt x="49555" y="39014"/>
                  </a:cubicBezTo>
                  <a:cubicBezTo>
                    <a:pt x="48603" y="39966"/>
                    <a:pt x="36228" y="44724"/>
                    <a:pt x="35277" y="45675"/>
                  </a:cubicBezTo>
                  <a:lnTo>
                    <a:pt x="34325" y="45675"/>
                  </a:lnTo>
                  <a:cubicBezTo>
                    <a:pt x="32421" y="45675"/>
                    <a:pt x="31469" y="46627"/>
                    <a:pt x="32421" y="47578"/>
                  </a:cubicBezTo>
                  <a:lnTo>
                    <a:pt x="30517" y="47578"/>
                  </a:lnTo>
                  <a:lnTo>
                    <a:pt x="30517" y="47578"/>
                  </a:lnTo>
                  <a:lnTo>
                    <a:pt x="28613" y="47578"/>
                  </a:lnTo>
                  <a:cubicBezTo>
                    <a:pt x="28613" y="47578"/>
                    <a:pt x="27661" y="46627"/>
                    <a:pt x="28613" y="46627"/>
                  </a:cubicBezTo>
                  <a:cubicBezTo>
                    <a:pt x="27661" y="47578"/>
                    <a:pt x="25758" y="47578"/>
                    <a:pt x="24806" y="47578"/>
                  </a:cubicBezTo>
                  <a:cubicBezTo>
                    <a:pt x="28613" y="48530"/>
                    <a:pt x="33373" y="48530"/>
                    <a:pt x="37180" y="49482"/>
                  </a:cubicBezTo>
                  <a:cubicBezTo>
                    <a:pt x="35277" y="50433"/>
                    <a:pt x="32421" y="49482"/>
                    <a:pt x="31469" y="50433"/>
                  </a:cubicBezTo>
                  <a:cubicBezTo>
                    <a:pt x="29565" y="49482"/>
                    <a:pt x="24806" y="49482"/>
                    <a:pt x="21950" y="49482"/>
                  </a:cubicBezTo>
                  <a:cubicBezTo>
                    <a:pt x="20998" y="49482"/>
                    <a:pt x="20998" y="51385"/>
                    <a:pt x="19094" y="50433"/>
                  </a:cubicBezTo>
                  <a:cubicBezTo>
                    <a:pt x="18142" y="49482"/>
                    <a:pt x="17191" y="50433"/>
                    <a:pt x="16239" y="50433"/>
                  </a:cubicBezTo>
                  <a:cubicBezTo>
                    <a:pt x="18142" y="49482"/>
                    <a:pt x="19094" y="49482"/>
                    <a:pt x="20998" y="49482"/>
                  </a:cubicBezTo>
                  <a:cubicBezTo>
                    <a:pt x="20998" y="48530"/>
                    <a:pt x="17191" y="48530"/>
                    <a:pt x="16239" y="48530"/>
                  </a:cubicBezTo>
                  <a:cubicBezTo>
                    <a:pt x="15287" y="48530"/>
                    <a:pt x="12431" y="48530"/>
                    <a:pt x="10527" y="49482"/>
                  </a:cubicBezTo>
                  <a:cubicBezTo>
                    <a:pt x="11479" y="48530"/>
                    <a:pt x="8623" y="48530"/>
                    <a:pt x="7672" y="48530"/>
                  </a:cubicBezTo>
                  <a:cubicBezTo>
                    <a:pt x="6720" y="48530"/>
                    <a:pt x="5768" y="49482"/>
                    <a:pt x="5768" y="49482"/>
                  </a:cubicBezTo>
                  <a:cubicBezTo>
                    <a:pt x="5768" y="50433"/>
                    <a:pt x="10527" y="49482"/>
                    <a:pt x="9575" y="51385"/>
                  </a:cubicBezTo>
                  <a:cubicBezTo>
                    <a:pt x="8623" y="50433"/>
                    <a:pt x="6720" y="51385"/>
                    <a:pt x="4816" y="51385"/>
                  </a:cubicBezTo>
                  <a:cubicBezTo>
                    <a:pt x="4816" y="52336"/>
                    <a:pt x="5768" y="52336"/>
                    <a:pt x="4816" y="52336"/>
                  </a:cubicBezTo>
                  <a:cubicBezTo>
                    <a:pt x="2912" y="52336"/>
                    <a:pt x="1960" y="53288"/>
                    <a:pt x="1008" y="52336"/>
                  </a:cubicBezTo>
                  <a:lnTo>
                    <a:pt x="1960" y="52336"/>
                  </a:lnTo>
                  <a:cubicBezTo>
                    <a:pt x="56" y="52336"/>
                    <a:pt x="12431" y="46627"/>
                    <a:pt x="9575" y="47578"/>
                  </a:cubicBezTo>
                  <a:cubicBezTo>
                    <a:pt x="10527" y="48530"/>
                    <a:pt x="-896" y="53288"/>
                    <a:pt x="56" y="52336"/>
                  </a:cubicBezTo>
                  <a:cubicBezTo>
                    <a:pt x="1008" y="52336"/>
                    <a:pt x="-896" y="53288"/>
                    <a:pt x="1008" y="54239"/>
                  </a:cubicBezTo>
                  <a:lnTo>
                    <a:pt x="1960" y="53288"/>
                  </a:lnTo>
                  <a:cubicBezTo>
                    <a:pt x="3864" y="53288"/>
                    <a:pt x="4816" y="54239"/>
                    <a:pt x="3864" y="55191"/>
                  </a:cubicBezTo>
                  <a:cubicBezTo>
                    <a:pt x="1008" y="55191"/>
                    <a:pt x="11479" y="49482"/>
                    <a:pt x="9575" y="50433"/>
                  </a:cubicBezTo>
                  <a:lnTo>
                    <a:pt x="10527" y="50433"/>
                  </a:lnTo>
                  <a:cubicBezTo>
                    <a:pt x="9575" y="51385"/>
                    <a:pt x="6720" y="51385"/>
                    <a:pt x="5768" y="51385"/>
                  </a:cubicBezTo>
                  <a:cubicBezTo>
                    <a:pt x="5768" y="52336"/>
                    <a:pt x="4816" y="52336"/>
                    <a:pt x="2912" y="53288"/>
                  </a:cubicBezTo>
                  <a:lnTo>
                    <a:pt x="2912" y="53288"/>
                  </a:lnTo>
                  <a:cubicBezTo>
                    <a:pt x="1960" y="53288"/>
                    <a:pt x="56" y="53288"/>
                    <a:pt x="1008" y="54239"/>
                  </a:cubicBezTo>
                  <a:cubicBezTo>
                    <a:pt x="7672" y="53288"/>
                    <a:pt x="-2799" y="61852"/>
                    <a:pt x="3864" y="61852"/>
                  </a:cubicBezTo>
                  <a:cubicBezTo>
                    <a:pt x="1008" y="60900"/>
                    <a:pt x="4816" y="59949"/>
                    <a:pt x="7672" y="59949"/>
                  </a:cubicBezTo>
                  <a:cubicBezTo>
                    <a:pt x="7672" y="60900"/>
                    <a:pt x="9575" y="60900"/>
                    <a:pt x="11479" y="61852"/>
                  </a:cubicBezTo>
                  <a:cubicBezTo>
                    <a:pt x="13383" y="61852"/>
                    <a:pt x="12431" y="60900"/>
                    <a:pt x="12431" y="60900"/>
                  </a:cubicBezTo>
                  <a:cubicBezTo>
                    <a:pt x="13383" y="60900"/>
                    <a:pt x="15287" y="60900"/>
                    <a:pt x="15287" y="61852"/>
                  </a:cubicBezTo>
                  <a:cubicBezTo>
                    <a:pt x="16239" y="60900"/>
                    <a:pt x="17191" y="61852"/>
                    <a:pt x="19094" y="61852"/>
                  </a:cubicBezTo>
                  <a:cubicBezTo>
                    <a:pt x="20998" y="60900"/>
                    <a:pt x="19094" y="61852"/>
                    <a:pt x="20046" y="60900"/>
                  </a:cubicBezTo>
                  <a:cubicBezTo>
                    <a:pt x="21950" y="60900"/>
                    <a:pt x="25758" y="60900"/>
                    <a:pt x="27661" y="60900"/>
                  </a:cubicBezTo>
                  <a:cubicBezTo>
                    <a:pt x="28613" y="61852"/>
                    <a:pt x="30517" y="62803"/>
                    <a:pt x="29565" y="63755"/>
                  </a:cubicBezTo>
                  <a:cubicBezTo>
                    <a:pt x="25758" y="63755"/>
                    <a:pt x="30517" y="61852"/>
                    <a:pt x="26709" y="61852"/>
                  </a:cubicBezTo>
                  <a:cubicBezTo>
                    <a:pt x="28613" y="63755"/>
                    <a:pt x="23854" y="62803"/>
                    <a:pt x="22902" y="63755"/>
                  </a:cubicBezTo>
                  <a:cubicBezTo>
                    <a:pt x="23854" y="64707"/>
                    <a:pt x="26709" y="63755"/>
                    <a:pt x="28613" y="63755"/>
                  </a:cubicBezTo>
                  <a:lnTo>
                    <a:pt x="28613" y="63755"/>
                  </a:lnTo>
                  <a:cubicBezTo>
                    <a:pt x="30517" y="63755"/>
                    <a:pt x="33373" y="62803"/>
                    <a:pt x="35277" y="63755"/>
                  </a:cubicBezTo>
                  <a:cubicBezTo>
                    <a:pt x="35277" y="64707"/>
                    <a:pt x="36228" y="64707"/>
                    <a:pt x="34325" y="64707"/>
                  </a:cubicBezTo>
                  <a:lnTo>
                    <a:pt x="37180" y="64707"/>
                  </a:lnTo>
                  <a:cubicBezTo>
                    <a:pt x="37180" y="64707"/>
                    <a:pt x="38132" y="64707"/>
                    <a:pt x="37180" y="63755"/>
                  </a:cubicBezTo>
                  <a:cubicBezTo>
                    <a:pt x="38132" y="62803"/>
                    <a:pt x="39084" y="63755"/>
                    <a:pt x="40036" y="63755"/>
                  </a:cubicBezTo>
                  <a:cubicBezTo>
                    <a:pt x="40036" y="64707"/>
                    <a:pt x="52411" y="58997"/>
                    <a:pt x="52411" y="59949"/>
                  </a:cubicBezTo>
                  <a:cubicBezTo>
                    <a:pt x="54315" y="59949"/>
                    <a:pt x="54315" y="60900"/>
                    <a:pt x="56218" y="59949"/>
                  </a:cubicBezTo>
                  <a:cubicBezTo>
                    <a:pt x="56218" y="58997"/>
                    <a:pt x="40036" y="63755"/>
                    <a:pt x="42892" y="63755"/>
                  </a:cubicBezTo>
                  <a:cubicBezTo>
                    <a:pt x="44796" y="64707"/>
                    <a:pt x="61930" y="58046"/>
                    <a:pt x="62882" y="58997"/>
                  </a:cubicBezTo>
                  <a:cubicBezTo>
                    <a:pt x="63834" y="58997"/>
                    <a:pt x="65737" y="58046"/>
                    <a:pt x="64785" y="58046"/>
                  </a:cubicBezTo>
                  <a:cubicBezTo>
                    <a:pt x="66689" y="58046"/>
                    <a:pt x="64785" y="58997"/>
                    <a:pt x="65737" y="59949"/>
                  </a:cubicBezTo>
                  <a:lnTo>
                    <a:pt x="65737" y="59949"/>
                  </a:lnTo>
                  <a:lnTo>
                    <a:pt x="67641" y="60900"/>
                  </a:lnTo>
                  <a:cubicBezTo>
                    <a:pt x="70497" y="58997"/>
                    <a:pt x="76208" y="59949"/>
                    <a:pt x="79064" y="58046"/>
                  </a:cubicBezTo>
                  <a:cubicBezTo>
                    <a:pt x="78112" y="58997"/>
                    <a:pt x="77160" y="59949"/>
                    <a:pt x="75256" y="60900"/>
                  </a:cubicBezTo>
                  <a:lnTo>
                    <a:pt x="75256" y="60900"/>
                  </a:lnTo>
                  <a:lnTo>
                    <a:pt x="73353" y="61852"/>
                  </a:lnTo>
                  <a:cubicBezTo>
                    <a:pt x="75256" y="61852"/>
                    <a:pt x="77160" y="61852"/>
                    <a:pt x="79064" y="60900"/>
                  </a:cubicBezTo>
                  <a:lnTo>
                    <a:pt x="80016" y="60900"/>
                  </a:lnTo>
                  <a:lnTo>
                    <a:pt x="80016" y="60900"/>
                  </a:lnTo>
                  <a:cubicBezTo>
                    <a:pt x="80968" y="60900"/>
                    <a:pt x="80968" y="60900"/>
                    <a:pt x="80968" y="61852"/>
                  </a:cubicBezTo>
                  <a:lnTo>
                    <a:pt x="80968" y="61852"/>
                  </a:lnTo>
                  <a:cubicBezTo>
                    <a:pt x="82872" y="63755"/>
                    <a:pt x="89535" y="58997"/>
                    <a:pt x="93342" y="59949"/>
                  </a:cubicBezTo>
                  <a:cubicBezTo>
                    <a:pt x="94294" y="59949"/>
                    <a:pt x="93342" y="59949"/>
                    <a:pt x="94294" y="58997"/>
                  </a:cubicBezTo>
                  <a:cubicBezTo>
                    <a:pt x="98102" y="58997"/>
                    <a:pt x="100958" y="58997"/>
                    <a:pt x="105717" y="58997"/>
                  </a:cubicBezTo>
                  <a:cubicBezTo>
                    <a:pt x="106669" y="58046"/>
                    <a:pt x="106669" y="58046"/>
                    <a:pt x="104765" y="57094"/>
                  </a:cubicBezTo>
                  <a:lnTo>
                    <a:pt x="107621" y="57094"/>
                  </a:lnTo>
                  <a:cubicBezTo>
                    <a:pt x="104765" y="59949"/>
                    <a:pt x="113332" y="58046"/>
                    <a:pt x="111429" y="60900"/>
                  </a:cubicBezTo>
                  <a:cubicBezTo>
                    <a:pt x="112380" y="60900"/>
                    <a:pt x="114284" y="60900"/>
                    <a:pt x="116188" y="60900"/>
                  </a:cubicBezTo>
                  <a:cubicBezTo>
                    <a:pt x="116188" y="59949"/>
                    <a:pt x="116188" y="58997"/>
                    <a:pt x="119044" y="58997"/>
                  </a:cubicBezTo>
                  <a:cubicBezTo>
                    <a:pt x="121899" y="58997"/>
                    <a:pt x="121899" y="58997"/>
                    <a:pt x="123803" y="58997"/>
                  </a:cubicBezTo>
                  <a:cubicBezTo>
                    <a:pt x="124755" y="59949"/>
                    <a:pt x="123803" y="59949"/>
                    <a:pt x="123803" y="60900"/>
                  </a:cubicBezTo>
                  <a:cubicBezTo>
                    <a:pt x="127611" y="58997"/>
                    <a:pt x="127611" y="61852"/>
                    <a:pt x="131418" y="60900"/>
                  </a:cubicBezTo>
                  <a:cubicBezTo>
                    <a:pt x="133322" y="59949"/>
                    <a:pt x="138082" y="59949"/>
                    <a:pt x="138082" y="58046"/>
                  </a:cubicBezTo>
                  <a:cubicBezTo>
                    <a:pt x="139034" y="57094"/>
                    <a:pt x="139034" y="58046"/>
                    <a:pt x="139034" y="58997"/>
                  </a:cubicBezTo>
                  <a:close/>
                </a:path>
              </a:pathLst>
            </a:custGeom>
            <a:solidFill>
              <a:srgbClr val="144573"/>
            </a:solidFill>
            <a:ln w="95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 sz="1800"/>
            </a:p>
          </p:txBody>
        </p:sp>
      </p:grpSp>
    </p:spTree>
    <p:extLst>
      <p:ext uri="{BB962C8B-B14F-4D97-AF65-F5344CB8AC3E}">
        <p14:creationId xmlns:p14="http://schemas.microsoft.com/office/powerpoint/2010/main" val="258995952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1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 descr="Et billede, der indeholder person, udendørs, bænk, sidder&#10;&#10;Automatisk genereret beskrivelse">
            <a:extLst>
              <a:ext uri="{FF2B5EF4-FFF2-40B4-BE49-F238E27FC236}">
                <a16:creationId xmlns:a16="http://schemas.microsoft.com/office/drawing/2014/main" id="{731A862E-C8E1-AF42-92F3-C4898253E15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E0728A4A-9392-3044-A1DB-26D65B235A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23" name="Titel 9">
            <a:extLst>
              <a:ext uri="{FF2B5EF4-FFF2-40B4-BE49-F238E27FC236}">
                <a16:creationId xmlns:a16="http://schemas.microsoft.com/office/drawing/2014/main" id="{F443A15A-C60D-A744-B381-2453017F91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26" name="Billede 25">
            <a:extLst>
              <a:ext uri="{FF2B5EF4-FFF2-40B4-BE49-F238E27FC236}">
                <a16:creationId xmlns:a16="http://schemas.microsoft.com/office/drawing/2014/main" id="{D00CBDA2-D83C-C64D-8FE0-E7AFC79E139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37357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2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 descr="Et billede, der indeholder indendørs, person, barn, sidder&#10;&#10;Automatisk genereret beskrivelse">
            <a:extLst>
              <a:ext uri="{FF2B5EF4-FFF2-40B4-BE49-F238E27FC236}">
                <a16:creationId xmlns:a16="http://schemas.microsoft.com/office/drawing/2014/main" id="{7FC025C4-3C51-2A45-9719-DDD2CC92ACD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62FB2E0C-BE4C-8B44-9153-E69F14E1281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D64F0D3D-51BD-EB4A-AF54-E0CD9509F3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22321362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3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lede 3" descr="Et billede, der indeholder paraply, person, tilbehør, opbevarer&#10;&#10;Automatisk genereret beskrivelse">
            <a:extLst>
              <a:ext uri="{FF2B5EF4-FFF2-40B4-BE49-F238E27FC236}">
                <a16:creationId xmlns:a16="http://schemas.microsoft.com/office/drawing/2014/main" id="{D11B5318-5D51-FF46-AFA4-AA3E8E7B22B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" y="0"/>
            <a:ext cx="12192003" cy="6858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9D436AAE-0CC0-2842-B97D-F213D08176B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C518AE99-3537-9048-8647-3EEBD70364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46015029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4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 descr="Et billede, der indeholder udendørs, græs, felt, får&#10;&#10;Automatisk genereret beskrivelse">
            <a:extLst>
              <a:ext uri="{FF2B5EF4-FFF2-40B4-BE49-F238E27FC236}">
                <a16:creationId xmlns:a16="http://schemas.microsoft.com/office/drawing/2014/main" id="{28037FDD-8966-5E47-91C2-1782A94194D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CC8B7C6-4DC1-5C4E-B62C-454EEB2BB56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F8D615CE-0B75-DA4C-B19A-F75CC578CB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84968709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5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lede 3" descr="Et billede, der indeholder udendørs, græs, bjerg, mad&#10;&#10;Automatisk genereret beskrivelse">
            <a:extLst>
              <a:ext uri="{FF2B5EF4-FFF2-40B4-BE49-F238E27FC236}">
                <a16:creationId xmlns:a16="http://schemas.microsoft.com/office/drawing/2014/main" id="{0EA045AA-3339-604F-8EB8-940992657D5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7E53EFFB-2725-DF45-91C3-4FEDAFF8E7A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F071EF88-57BE-7A41-922C-F13269FBA8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79309122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6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 descr="Et billede, der indeholder udendørs, bygning, hegn, by&#10;&#10;Automatisk genereret beskrivelse">
            <a:extLst>
              <a:ext uri="{FF2B5EF4-FFF2-40B4-BE49-F238E27FC236}">
                <a16:creationId xmlns:a16="http://schemas.microsoft.com/office/drawing/2014/main" id="{9605DD56-4AD4-7B47-96A1-120C1DF65E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1999" cy="6858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4BE94C62-970B-4746-BEEC-26579458ED5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7D4BF381-4455-B540-8DC5-812DBB345C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46522829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7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lede 3" descr="Et billede, der indeholder person, udendørs, bygning, forbereder&#10;&#10;Automatisk genereret beskrivelse">
            <a:extLst>
              <a:ext uri="{FF2B5EF4-FFF2-40B4-BE49-F238E27FC236}">
                <a16:creationId xmlns:a16="http://schemas.microsoft.com/office/drawing/2014/main" id="{40209235-55F1-C34E-9B18-45E743DAE7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BC0AD2C0-AC1A-A542-B630-A0A9A232BA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D545335C-C562-DA4D-AC43-5CCF4BE5D8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5391603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) Indhold - Fuld tekstbo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8272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262972"/>
            <a:ext cx="10363200" cy="198541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1AC8D221-56A1-7042-82FD-26771C9796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432001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da-DK" noProof="0"/>
              <a:t>Klik for at redigere overskrift</a:t>
            </a:r>
          </a:p>
        </p:txBody>
      </p:sp>
      <p:sp>
        <p:nvSpPr>
          <p:cNvPr id="7" name="Pladsholder til tekst 2"/>
          <p:cNvSpPr>
            <a:spLocks noGrp="1"/>
          </p:cNvSpPr>
          <p:nvPr>
            <p:ph type="body" sz="quarter" idx="11" hasCustomPrompt="1"/>
          </p:nvPr>
        </p:nvSpPr>
        <p:spPr>
          <a:xfrm>
            <a:off x="914400" y="1736726"/>
            <a:ext cx="10363200" cy="432117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00"/>
            </a:lvl1pPr>
            <a:lvl3pPr marL="914423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</p:spTree>
    <p:extLst>
      <p:ext uri="{BB962C8B-B14F-4D97-AF65-F5344CB8AC3E}">
        <p14:creationId xmlns:p14="http://schemas.microsoft.com/office/powerpoint/2010/main" val="43753196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8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 descr="Et billede, der indeholder person, indendørs, opbevarer, afspiller&#10;&#10;Automatisk genereret beskrivelse">
            <a:extLst>
              <a:ext uri="{FF2B5EF4-FFF2-40B4-BE49-F238E27FC236}">
                <a16:creationId xmlns:a16="http://schemas.microsoft.com/office/drawing/2014/main" id="{86A135C5-411F-3647-B5F8-69AF5E9E13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429170170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9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083" name="Picture 3" descr="D:\Opgaver\EDC Marts 2020\Powerpointskabelon\billeder\ppt_billede_det_handler_om_at_gøre_sig_umage_2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24052453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10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106" name="Picture 2" descr="D:\Opgaver\EDC Marts 2020\Powerpointskabelon\billeder\ppt_billede_drone_by_frederiksberg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" y="1"/>
            <a:ext cx="1219199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5205966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11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130" name="Picture 2" descr="D:\Opgaver\EDC Marts 2020\Powerpointskabelon\billeder\ppt_billede_par_renoverer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39681025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12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154" name="Picture 2" descr="D:\Opgaver\EDC Marts 2020\Powerpointskabelon\billeder\ppt_billede_par_ud_af_vindue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12191999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89235109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13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178" name="Picture 2" descr="D:\Opgaver\EDC Marts 2020\Powerpointskabelon\billeder\ppt_billede_kvinde_i_lejlighed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12192001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01090882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14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02" name="Picture 2" descr="D:\Opgaver\EDC Marts 2020\Powerpointskabelon\billeder\ppt_billede_familie_i_sommerhus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52590344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15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226" name="Picture 2" descr="D:\Opgaver\EDC Marts 2020\Powerpointskabelon\billeder\ppt_billede_sommerhus_hoet_gras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87257143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16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274" name="Picture 2" descr="D:\Opgaver\EDC Marts 2020\Powerpointskabelon\billeder\ppt_billede_kvinde_i_lejlighed_med_te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58372449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17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298" name="Picture 2" descr="D:\Opgaver\EDC Marts 2020\Powerpointskabelon\billeder\ppt_billede_mand_ruller_taeppe_ud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" y="0"/>
            <a:ext cx="1219199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42589553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2) Indhold - Ingen tekstbo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11936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262972"/>
            <a:ext cx="10363200" cy="198541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1AC8D221-56A1-7042-82FD-26771C9796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432001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199869371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18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323" name="Picture 3" descr="D:\Opgaver\EDC Marts 2020\Powerpointskabelon\billeder\ppt_billede_aeldre_par_maler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" y="1"/>
            <a:ext cx="12191998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72879088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19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250" name="Picture 2" descr="D:\Opgaver\EDC Marts 2020\Powerpointskabelon\billeder\ppt_billede_familie_paa_fremvisning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" y="-1"/>
            <a:ext cx="12192001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79338060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20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led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60598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81424597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21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" y="0"/>
            <a:ext cx="12192004" cy="6860598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34180090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22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led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" y="0"/>
            <a:ext cx="12192004" cy="6860598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49243336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23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" y="0"/>
            <a:ext cx="12192004" cy="6860598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44843570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24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31" y="0"/>
            <a:ext cx="12185335" cy="6860598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79587435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25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31" y="1"/>
            <a:ext cx="12185335" cy="6860597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20088868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26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30" y="1"/>
            <a:ext cx="12185334" cy="6860597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77154760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27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30" y="3174"/>
            <a:ext cx="12185334" cy="685425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4149481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3) Indhold - Centreret budsk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045346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3598548"/>
            <a:ext cx="10363200" cy="1579381"/>
          </a:xfrm>
        </p:spPr>
        <p:txBody>
          <a:bodyPr wrap="square" anchor="t" anchorCtr="0">
            <a:noAutofit/>
          </a:bodyPr>
          <a:lstStyle>
            <a:lvl1pPr marL="0" indent="0" algn="ctr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1AC8D221-56A1-7042-82FD-26771C9796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930708"/>
            <a:ext cx="10363200" cy="24184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20040542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28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31" y="3174"/>
            <a:ext cx="12185333" cy="685425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415269599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29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31" y="3174"/>
            <a:ext cx="12185333" cy="6854249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81618163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30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Umage_1_video_1920x1080_7-3" descr="Umage_1_video_1920x1080_7-3">
            <a:hlinkClick r:id="" action="ppaction://media"/>
            <a:extLst>
              <a:ext uri="{FF2B5EF4-FFF2-40B4-BE49-F238E27FC236}">
                <a16:creationId xmlns:a16="http://schemas.microsoft.com/office/drawing/2014/main" id="{4AEF326F-0A5F-5A44-AF6E-474B08DBF0D8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-4048" y="1"/>
            <a:ext cx="12196048" cy="6871013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2917149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0000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mute="1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9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9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9"/>
                  </p:tgtEl>
                </p:cond>
              </p:nextCondLst>
            </p:seq>
          </p:childTnLst>
        </p:cTn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31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Umage_1_video_1920x1080_7-4" descr="Umage_1_video_1920x1080_7-4">
            <a:hlinkClick r:id="" action="ppaction://media"/>
            <a:extLst>
              <a:ext uri="{FF2B5EF4-FFF2-40B4-BE49-F238E27FC236}">
                <a16:creationId xmlns:a16="http://schemas.microsoft.com/office/drawing/2014/main" id="{282CA72B-DAAA-2A47-B97A-964503CA2B59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-1297"/>
            <a:ext cx="12192000" cy="6868732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7539384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0000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mute="1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yt afsn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DE115998-8EEC-F14C-8A06-E224BD904D2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0AE144C8-0C64-2E48-BD19-B340504ED30E}"/>
              </a:ext>
            </a:extLst>
          </p:cNvPr>
          <p:cNvSpPr/>
          <p:nvPr userDrawn="1"/>
        </p:nvSpPr>
        <p:spPr>
          <a:xfrm>
            <a:off x="0" y="6714895"/>
            <a:ext cx="12192000" cy="180000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5" name="Tekstfelt 4">
            <a:extLst>
              <a:ext uri="{FF2B5EF4-FFF2-40B4-BE49-F238E27FC236}">
                <a16:creationId xmlns:a16="http://schemas.microsoft.com/office/drawing/2014/main" id="{D926263D-15B6-7E46-9D7B-3581BB98A802}"/>
              </a:ext>
            </a:extLst>
          </p:cNvPr>
          <p:cNvSpPr txBox="1"/>
          <p:nvPr userDrawn="1"/>
        </p:nvSpPr>
        <p:spPr>
          <a:xfrm>
            <a:off x="793596" y="555208"/>
            <a:ext cx="10604810" cy="5747585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da-DK" sz="11501" b="1">
                <a:solidFill>
                  <a:srgbClr val="FFFFFF"/>
                </a:solidFill>
              </a:rPr>
              <a:t>Til store sale</a:t>
            </a:r>
          </a:p>
        </p:txBody>
      </p:sp>
    </p:spTree>
    <p:extLst>
      <p:ext uri="{BB962C8B-B14F-4D97-AF65-F5344CB8AC3E}">
        <p14:creationId xmlns:p14="http://schemas.microsoft.com/office/powerpoint/2010/main" val="55450544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1) Forside - Intro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DE115998-8EEC-F14C-8A06-E224BD904D2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8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48934" y="984664"/>
            <a:ext cx="1894132" cy="1877822"/>
          </a:xfrm>
          <a:prstGeom prst="rect">
            <a:avLst/>
          </a:prstGeom>
        </p:spPr>
      </p:pic>
      <p:sp>
        <p:nvSpPr>
          <p:cNvPr id="6" name="Rektangel 5">
            <a:extLst>
              <a:ext uri="{FF2B5EF4-FFF2-40B4-BE49-F238E27FC236}">
                <a16:creationId xmlns:a16="http://schemas.microsoft.com/office/drawing/2014/main" id="{0AE144C8-0C64-2E48-BD19-B340504ED30E}"/>
              </a:ext>
            </a:extLst>
          </p:cNvPr>
          <p:cNvSpPr/>
          <p:nvPr userDrawn="1"/>
        </p:nvSpPr>
        <p:spPr>
          <a:xfrm>
            <a:off x="0" y="6714895"/>
            <a:ext cx="12192000" cy="180000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02884CE6-2E01-4949-BAD6-196A401BB85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14400" y="5611154"/>
            <a:ext cx="10363200" cy="411274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2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titel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CD9EFE38-74B0-2C43-8B3B-DBBFECFD80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4035527"/>
            <a:ext cx="10363200" cy="1470524"/>
          </a:xfrm>
        </p:spPr>
        <p:txBody>
          <a:bodyPr/>
          <a:lstStyle>
            <a:lvl1pPr>
              <a:defRPr sz="48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0150EF21-A222-474E-9F0D-36BD39F2EB1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11226" y="3554954"/>
            <a:ext cx="10369550" cy="417513"/>
          </a:xfrm>
        </p:spPr>
        <p:txBody>
          <a:bodyPr/>
          <a:lstStyle>
            <a:lvl1pPr marL="0" indent="0" algn="ctr">
              <a:buNone/>
              <a:defRPr sz="3600" spc="300">
                <a:solidFill>
                  <a:srgbClr val="FEC315"/>
                </a:solidFill>
                <a:latin typeface="Manus" pitchFamily="2" charset="77"/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  <a:lvl4pPr marL="1371635" indent="0">
              <a:buNone/>
              <a:defRPr/>
            </a:lvl4pPr>
            <a:lvl5pPr marL="1828847" indent="0">
              <a:buNone/>
              <a:defRPr/>
            </a:lvl5pPr>
          </a:lstStyle>
          <a:p>
            <a:pPr lvl="0"/>
            <a:r>
              <a:rPr lang="da-DK"/>
              <a:t>Klik for at redigere dato</a:t>
            </a:r>
          </a:p>
        </p:txBody>
      </p:sp>
    </p:spTree>
    <p:extLst>
      <p:ext uri="{BB962C8B-B14F-4D97-AF65-F5344CB8AC3E}">
        <p14:creationId xmlns:p14="http://schemas.microsoft.com/office/powerpoint/2010/main" val="219965116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1) Indhold - Fuld tekstbo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26565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395491"/>
            <a:ext cx="10363200" cy="353796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2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1AC8D221-56A1-7042-82FD-26771C9796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511513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sz="4800"/>
            </a:lvl1pPr>
          </a:lstStyle>
          <a:p>
            <a:r>
              <a:rPr lang="da-DK" noProof="0"/>
              <a:t>Klik for at redigere overskrift</a:t>
            </a:r>
          </a:p>
        </p:txBody>
      </p:sp>
      <p:sp>
        <p:nvSpPr>
          <p:cNvPr id="7" name="Pladsholder til tekst 2"/>
          <p:cNvSpPr>
            <a:spLocks noGrp="1"/>
          </p:cNvSpPr>
          <p:nvPr>
            <p:ph type="body" sz="quarter" idx="11" hasCustomPrompt="1"/>
          </p:nvPr>
        </p:nvSpPr>
        <p:spPr>
          <a:xfrm>
            <a:off x="914400" y="2120348"/>
            <a:ext cx="10363200" cy="3937552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800"/>
            </a:lvl1pPr>
            <a:lvl3pPr marL="914423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</p:spTree>
    <p:extLst>
      <p:ext uri="{BB962C8B-B14F-4D97-AF65-F5344CB8AC3E}">
        <p14:creationId xmlns:p14="http://schemas.microsoft.com/office/powerpoint/2010/main" val="111756805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2) Indhold - Ingen tekstbo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74661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AB11F932-EEFF-0F42-A8FD-A7B6C194B95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395491"/>
            <a:ext cx="10363200" cy="353796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2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20B5FF7-064E-A440-964E-203F0CBC0C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511513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sz="4800"/>
            </a:lvl1pPr>
          </a:lstStyle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84546723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3) Indhold - Centreret budsk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51392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3598548"/>
            <a:ext cx="10363200" cy="1579381"/>
          </a:xfrm>
        </p:spPr>
        <p:txBody>
          <a:bodyPr wrap="square" anchor="t" anchorCtr="0">
            <a:noAutofit/>
          </a:bodyPr>
          <a:lstStyle>
            <a:lvl1pPr marL="0" indent="0" algn="ctr">
              <a:buNone/>
              <a:defRPr lang="da-DK" sz="2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1AC8D221-56A1-7042-82FD-26771C9796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930708"/>
            <a:ext cx="10363200" cy="24184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4800"/>
            </a:lvl1pPr>
          </a:lstStyle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245508625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4) Indhold - Tekst og tab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63719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dsholder til tekst 2"/>
          <p:cNvSpPr>
            <a:spLocks noGrp="1"/>
          </p:cNvSpPr>
          <p:nvPr>
            <p:ph type="body" sz="quarter" idx="11" hasCustomPrompt="1"/>
          </p:nvPr>
        </p:nvSpPr>
        <p:spPr>
          <a:xfrm>
            <a:off x="914401" y="2090522"/>
            <a:ext cx="4929809" cy="3967379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800"/>
            </a:lvl1pPr>
            <a:lvl3pPr marL="914423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  <p:sp>
        <p:nvSpPr>
          <p:cNvPr id="5" name="Pladsholder til tabel 4">
            <a:extLst>
              <a:ext uri="{FF2B5EF4-FFF2-40B4-BE49-F238E27FC236}">
                <a16:creationId xmlns:a16="http://schemas.microsoft.com/office/drawing/2014/main" id="{2EA14440-FD86-A745-9F55-041D16E11DC7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6096000" y="2090522"/>
            <a:ext cx="5181600" cy="3967379"/>
          </a:xfrm>
          <a:solidFill>
            <a:schemeClr val="bg2"/>
          </a:solidFill>
          <a:ln>
            <a:noFill/>
          </a:ln>
          <a:effectLst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360000" tIns="360000" rIns="360000" bIns="360000"/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r>
              <a:rPr lang="da-DK"/>
              <a:t>Klik på ikonet for at tilføje en tabel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6D3F494E-CD8F-B44A-B895-7802E7D87C9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395491"/>
            <a:ext cx="10363200" cy="353796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2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761361C2-35D9-DC40-ADAE-BE32D61966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511513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sz="4800"/>
            </a:lvl1pPr>
          </a:lstStyle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36583777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4) Indhold - Tekst og tab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90620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262972"/>
            <a:ext cx="10363200" cy="198541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sz="quarter" idx="11" hasCustomPrompt="1"/>
          </p:nvPr>
        </p:nvSpPr>
        <p:spPr>
          <a:xfrm>
            <a:off x="914400" y="1736726"/>
            <a:ext cx="4937760" cy="432117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  <a:lvl3pPr marL="914423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1AC8D221-56A1-7042-82FD-26771C9796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432001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da-DK" noProof="0"/>
              <a:t>Klik for at redigere overskrift</a:t>
            </a:r>
          </a:p>
        </p:txBody>
      </p:sp>
      <p:sp>
        <p:nvSpPr>
          <p:cNvPr id="5" name="Pladsholder til tabel 4">
            <a:extLst>
              <a:ext uri="{FF2B5EF4-FFF2-40B4-BE49-F238E27FC236}">
                <a16:creationId xmlns:a16="http://schemas.microsoft.com/office/drawing/2014/main" id="{2EA14440-FD86-A745-9F55-041D16E11DC7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6096000" y="1736726"/>
            <a:ext cx="5181600" cy="4321175"/>
          </a:xfrm>
          <a:solidFill>
            <a:schemeClr val="bg2"/>
          </a:solidFill>
          <a:ln>
            <a:noFill/>
          </a:ln>
          <a:effectLst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360000" tIns="360000" rIns="360000" bIns="360000"/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r>
              <a:rPr lang="da-DK"/>
              <a:t>Klik på ikonet for at tilføje en tabel</a:t>
            </a:r>
          </a:p>
        </p:txBody>
      </p:sp>
    </p:spTree>
    <p:extLst>
      <p:ext uri="{BB962C8B-B14F-4D97-AF65-F5344CB8AC3E}">
        <p14:creationId xmlns:p14="http://schemas.microsoft.com/office/powerpoint/2010/main" val="264965110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5) Indhold - Et emne med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4142082" y="477952"/>
            <a:ext cx="3907836" cy="2951048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7181481A-2E88-8D46-9166-9ED669A4243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5023692"/>
            <a:ext cx="10363200" cy="1024569"/>
          </a:xfrm>
        </p:spPr>
        <p:txBody>
          <a:bodyPr wrap="square" anchor="t" anchorCtr="0">
            <a:noAutofit/>
          </a:bodyPr>
          <a:lstStyle>
            <a:lvl1pPr marL="0" indent="0" algn="ctr">
              <a:buNone/>
              <a:defRPr lang="da-DK" sz="2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47" name="Title Placeholder 1">
            <a:extLst>
              <a:ext uri="{FF2B5EF4-FFF2-40B4-BE49-F238E27FC236}">
                <a16:creationId xmlns:a16="http://schemas.microsoft.com/office/drawing/2014/main" id="{611C7174-4E01-3847-B4C4-CCC7A05178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3564836"/>
            <a:ext cx="10363200" cy="130927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4800"/>
            </a:lvl1pPr>
          </a:lstStyle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111454941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6) Indhold - To emner med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2164016" y="1996219"/>
            <a:ext cx="3627184" cy="2213113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22" name="Pladsholder til tekst 3"/>
          <p:cNvSpPr>
            <a:spLocks noGrp="1"/>
          </p:cNvSpPr>
          <p:nvPr>
            <p:ph type="body" sz="quarter" idx="25" hasCustomPrompt="1"/>
          </p:nvPr>
        </p:nvSpPr>
        <p:spPr>
          <a:xfrm>
            <a:off x="2164016" y="4315350"/>
            <a:ext cx="3627184" cy="52913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23" name="Pladsholder til tekst 3"/>
          <p:cNvSpPr>
            <a:spLocks noGrp="1"/>
          </p:cNvSpPr>
          <p:nvPr>
            <p:ph type="body" sz="quarter" idx="26" hasCustomPrompt="1"/>
          </p:nvPr>
        </p:nvSpPr>
        <p:spPr>
          <a:xfrm>
            <a:off x="2164016" y="4993802"/>
            <a:ext cx="3627184" cy="1059239"/>
          </a:xfrm>
        </p:spPr>
        <p:txBody>
          <a:bodyPr/>
          <a:lstStyle>
            <a:lvl1pPr marL="0" indent="0" algn="ctr">
              <a:buNone/>
              <a:defRPr sz="20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F2BF2CA4-3ABA-C14B-868D-D7653200FBC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6400800" y="2001079"/>
            <a:ext cx="3627184" cy="2213113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24" name="Pladsholder til tekst 3">
            <a:extLst>
              <a:ext uri="{FF2B5EF4-FFF2-40B4-BE49-F238E27FC236}">
                <a16:creationId xmlns:a16="http://schemas.microsoft.com/office/drawing/2014/main" id="{0F516A20-06BF-E442-B335-3C7FA7EEC87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400800" y="4315350"/>
            <a:ext cx="3627184" cy="53399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25" name="Pladsholder til tekst 3">
            <a:extLst>
              <a:ext uri="{FF2B5EF4-FFF2-40B4-BE49-F238E27FC236}">
                <a16:creationId xmlns:a16="http://schemas.microsoft.com/office/drawing/2014/main" id="{8D48806D-8505-8F46-82F5-E496FD91153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400800" y="4998662"/>
            <a:ext cx="3627184" cy="1059239"/>
          </a:xfrm>
        </p:spPr>
        <p:txBody>
          <a:bodyPr/>
          <a:lstStyle>
            <a:lvl1pPr marL="0" indent="0" algn="ctr">
              <a:buNone/>
              <a:defRPr sz="20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DDCA192D-13F0-8B44-B645-43979F69C2D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395491"/>
            <a:ext cx="10363200" cy="353796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2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6CBFA1C1-882E-5645-99C0-3185EC1854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511513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sz="4800"/>
            </a:lvl1pPr>
          </a:lstStyle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135358011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7) Indhold - Tre emner med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8E3B89B6-A024-B84B-A5B9-26E24133BBD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901148" y="1996218"/>
            <a:ext cx="3330208" cy="2239618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6" name="Pladsholder til tekst 3">
            <a:extLst>
              <a:ext uri="{FF2B5EF4-FFF2-40B4-BE49-F238E27FC236}">
                <a16:creationId xmlns:a16="http://schemas.microsoft.com/office/drawing/2014/main" id="{882D2D26-0C67-134D-B9A4-B8005DA09D6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01148" y="4315349"/>
            <a:ext cx="3330208" cy="535467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17" name="Pladsholder til tekst 3">
            <a:extLst>
              <a:ext uri="{FF2B5EF4-FFF2-40B4-BE49-F238E27FC236}">
                <a16:creationId xmlns:a16="http://schemas.microsoft.com/office/drawing/2014/main" id="{07DDBD85-7D34-6D4E-839C-CC15FC28691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01148" y="4993802"/>
            <a:ext cx="3330208" cy="1071925"/>
          </a:xfrm>
        </p:spPr>
        <p:txBody>
          <a:bodyPr/>
          <a:lstStyle>
            <a:lvl1pPr marL="0" indent="0" algn="ctr">
              <a:buNone/>
              <a:defRPr sz="20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  <p:sp>
        <p:nvSpPr>
          <p:cNvPr id="26" name="Picture Placeholder 2">
            <a:extLst>
              <a:ext uri="{FF2B5EF4-FFF2-40B4-BE49-F238E27FC236}">
                <a16:creationId xmlns:a16="http://schemas.microsoft.com/office/drawing/2014/main" id="{FCC4041F-0124-C541-AFC8-AE62A127F40F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4417644" y="2001078"/>
            <a:ext cx="3330208" cy="2239618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27" name="Pladsholder til tekst 3">
            <a:extLst>
              <a:ext uri="{FF2B5EF4-FFF2-40B4-BE49-F238E27FC236}">
                <a16:creationId xmlns:a16="http://schemas.microsoft.com/office/drawing/2014/main" id="{7B52DD36-DC98-3D47-A0C3-A9425FAE7D4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17644" y="4315349"/>
            <a:ext cx="3330208" cy="540385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28" name="Pladsholder til tekst 3">
            <a:extLst>
              <a:ext uri="{FF2B5EF4-FFF2-40B4-BE49-F238E27FC236}">
                <a16:creationId xmlns:a16="http://schemas.microsoft.com/office/drawing/2014/main" id="{8501AE1F-28E2-7F4A-8DB5-7A5850E2F85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417644" y="4998662"/>
            <a:ext cx="3330208" cy="1071925"/>
          </a:xfrm>
        </p:spPr>
        <p:txBody>
          <a:bodyPr/>
          <a:lstStyle>
            <a:lvl1pPr marL="0" indent="0" algn="ctr">
              <a:buNone/>
              <a:defRPr sz="20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  <p:sp>
        <p:nvSpPr>
          <p:cNvPr id="29" name="Picture Placeholder 2">
            <a:extLst>
              <a:ext uri="{FF2B5EF4-FFF2-40B4-BE49-F238E27FC236}">
                <a16:creationId xmlns:a16="http://schemas.microsoft.com/office/drawing/2014/main" id="{B62EDF71-561A-6A44-BCF5-2D09A169B936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7934140" y="2001078"/>
            <a:ext cx="3330208" cy="2239618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30" name="Pladsholder til tekst 3">
            <a:extLst>
              <a:ext uri="{FF2B5EF4-FFF2-40B4-BE49-F238E27FC236}">
                <a16:creationId xmlns:a16="http://schemas.microsoft.com/office/drawing/2014/main" id="{D63F48F0-EB0A-1B43-95C7-3DC5C8F084A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934140" y="4315349"/>
            <a:ext cx="3330208" cy="540385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31" name="Pladsholder til tekst 3">
            <a:extLst>
              <a:ext uri="{FF2B5EF4-FFF2-40B4-BE49-F238E27FC236}">
                <a16:creationId xmlns:a16="http://schemas.microsoft.com/office/drawing/2014/main" id="{E901EA20-D2D6-1847-BAEE-155DAFB627D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934140" y="4998662"/>
            <a:ext cx="3330208" cy="1071925"/>
          </a:xfrm>
        </p:spPr>
        <p:txBody>
          <a:bodyPr/>
          <a:lstStyle>
            <a:lvl1pPr marL="0" indent="0" algn="ctr">
              <a:buNone/>
              <a:defRPr sz="20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224E5EFD-6BAF-C446-8E69-8A63CE6F135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395491"/>
            <a:ext cx="10363200" cy="353796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2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33" name="Title Placeholder 1">
            <a:extLst>
              <a:ext uri="{FF2B5EF4-FFF2-40B4-BE49-F238E27FC236}">
                <a16:creationId xmlns:a16="http://schemas.microsoft.com/office/drawing/2014/main" id="{4C9323F9-7A7F-EA45-A263-1F23E41572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511513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sz="4800"/>
            </a:lvl1pPr>
          </a:lstStyle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135062135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8) Indhold - Fire emner med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E7B02512-77B6-3E4D-A7FE-46004AAB3DD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901148" y="1996219"/>
            <a:ext cx="2514958" cy="2105409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7" name="Pladsholder til tekst 3">
            <a:extLst>
              <a:ext uri="{FF2B5EF4-FFF2-40B4-BE49-F238E27FC236}">
                <a16:creationId xmlns:a16="http://schemas.microsoft.com/office/drawing/2014/main" id="{3030EC21-C95B-AA41-BCB4-09DF2642AA4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01148" y="4315349"/>
            <a:ext cx="2514958" cy="535467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18" name="Pladsholder til tekst 3">
            <a:extLst>
              <a:ext uri="{FF2B5EF4-FFF2-40B4-BE49-F238E27FC236}">
                <a16:creationId xmlns:a16="http://schemas.microsoft.com/office/drawing/2014/main" id="{AF32A35C-97F0-EF40-A200-C2393DDA49F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01148" y="4993802"/>
            <a:ext cx="2514958" cy="1071925"/>
          </a:xfrm>
        </p:spPr>
        <p:txBody>
          <a:bodyPr/>
          <a:lstStyle>
            <a:lvl1pPr marL="0" indent="0" algn="ctr">
              <a:buNone/>
              <a:defRPr sz="20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E47EE4D6-54EE-6B4D-94BC-576A41578E7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519870" y="2001079"/>
            <a:ext cx="2514958" cy="2105409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20" name="Pladsholder til tekst 3">
            <a:extLst>
              <a:ext uri="{FF2B5EF4-FFF2-40B4-BE49-F238E27FC236}">
                <a16:creationId xmlns:a16="http://schemas.microsoft.com/office/drawing/2014/main" id="{FC54151C-9BD2-9441-B192-9C92CA68A4D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519870" y="4315349"/>
            <a:ext cx="2514958" cy="540385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21" name="Pladsholder til tekst 3">
            <a:extLst>
              <a:ext uri="{FF2B5EF4-FFF2-40B4-BE49-F238E27FC236}">
                <a16:creationId xmlns:a16="http://schemas.microsoft.com/office/drawing/2014/main" id="{0B9E6C6A-AE43-0C41-855D-6826155AE3D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519870" y="4998662"/>
            <a:ext cx="2514958" cy="1071925"/>
          </a:xfrm>
        </p:spPr>
        <p:txBody>
          <a:bodyPr/>
          <a:lstStyle>
            <a:lvl1pPr marL="0" indent="0" algn="ctr">
              <a:buNone/>
              <a:defRPr sz="20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  <p:sp>
        <p:nvSpPr>
          <p:cNvPr id="24" name="Picture Placeholder 2">
            <a:extLst>
              <a:ext uri="{FF2B5EF4-FFF2-40B4-BE49-F238E27FC236}">
                <a16:creationId xmlns:a16="http://schemas.microsoft.com/office/drawing/2014/main" id="{914B9948-AB67-514F-A195-A8D1BA9309C1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6137566" y="2001079"/>
            <a:ext cx="2514958" cy="2105409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25" name="Pladsholder til tekst 3">
            <a:extLst>
              <a:ext uri="{FF2B5EF4-FFF2-40B4-BE49-F238E27FC236}">
                <a16:creationId xmlns:a16="http://schemas.microsoft.com/office/drawing/2014/main" id="{74ECA657-6A3A-1543-92C3-C61349168AA2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137566" y="4315349"/>
            <a:ext cx="2514958" cy="540385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26" name="Pladsholder til tekst 3">
            <a:extLst>
              <a:ext uri="{FF2B5EF4-FFF2-40B4-BE49-F238E27FC236}">
                <a16:creationId xmlns:a16="http://schemas.microsoft.com/office/drawing/2014/main" id="{5C9C9D67-6C46-924B-AF1B-E5B807F7146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137566" y="4998662"/>
            <a:ext cx="2514958" cy="1071925"/>
          </a:xfrm>
        </p:spPr>
        <p:txBody>
          <a:bodyPr/>
          <a:lstStyle>
            <a:lvl1pPr marL="0" indent="0" algn="ctr">
              <a:buNone/>
              <a:defRPr sz="20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FBB4852E-96B9-3E44-86C7-1D0B200D119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395491"/>
            <a:ext cx="10363200" cy="353796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2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28" name="Title Placeholder 1">
            <a:extLst>
              <a:ext uri="{FF2B5EF4-FFF2-40B4-BE49-F238E27FC236}">
                <a16:creationId xmlns:a16="http://schemas.microsoft.com/office/drawing/2014/main" id="{CAFE22BC-7CFF-8048-8841-439F660FF1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511513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sz="4800"/>
            </a:lvl1pPr>
          </a:lstStyle>
          <a:p>
            <a:r>
              <a:rPr lang="da-DK" noProof="0"/>
              <a:t>Klik for at redigere overskrift</a:t>
            </a:r>
          </a:p>
        </p:txBody>
      </p:sp>
      <p:sp>
        <p:nvSpPr>
          <p:cNvPr id="29" name="Picture Placeholder 2">
            <a:extLst>
              <a:ext uri="{FF2B5EF4-FFF2-40B4-BE49-F238E27FC236}">
                <a16:creationId xmlns:a16="http://schemas.microsoft.com/office/drawing/2014/main" id="{0C59EBB3-3967-8946-9F8B-14CDF2AC3A60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8763574" y="2001079"/>
            <a:ext cx="2514958" cy="2105409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30" name="Pladsholder til tekst 3">
            <a:extLst>
              <a:ext uri="{FF2B5EF4-FFF2-40B4-BE49-F238E27FC236}">
                <a16:creationId xmlns:a16="http://schemas.microsoft.com/office/drawing/2014/main" id="{77BB1D31-72DA-2342-B1B2-2962322C16C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763574" y="4315349"/>
            <a:ext cx="2514958" cy="540385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31" name="Pladsholder til tekst 3">
            <a:extLst>
              <a:ext uri="{FF2B5EF4-FFF2-40B4-BE49-F238E27FC236}">
                <a16:creationId xmlns:a16="http://schemas.microsoft.com/office/drawing/2014/main" id="{8B92E519-CB80-BC42-9A99-69D17D05465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763574" y="4998662"/>
            <a:ext cx="2514958" cy="1071925"/>
          </a:xfrm>
        </p:spPr>
        <p:txBody>
          <a:bodyPr/>
          <a:lstStyle>
            <a:lvl1pPr marL="0" indent="0" algn="ctr">
              <a:buNone/>
              <a:defRPr sz="20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</p:spTree>
    <p:extLst>
      <p:ext uri="{BB962C8B-B14F-4D97-AF65-F5344CB8AC3E}">
        <p14:creationId xmlns:p14="http://schemas.microsoft.com/office/powerpoint/2010/main" val="88254808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9) Indhold - venstrestillet billede med budsk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943717" y="1123721"/>
            <a:ext cx="4572000" cy="4726236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7181481A-2E88-8D46-9166-9ED669A4243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0973" y="3922005"/>
            <a:ext cx="4745659" cy="1707615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47" name="Title Placeholder 1">
            <a:extLst>
              <a:ext uri="{FF2B5EF4-FFF2-40B4-BE49-F238E27FC236}">
                <a16:creationId xmlns:a16="http://schemas.microsoft.com/office/drawing/2014/main" id="{611C7174-4E01-3847-B4C4-CCC7A05178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60973" y="1663545"/>
            <a:ext cx="5023693" cy="18885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>
              <a:defRPr sz="4800"/>
            </a:lvl1pPr>
          </a:lstStyle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135725226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10) Indhold - højrestillet billede med budsk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6626600" y="1123721"/>
            <a:ext cx="4572000" cy="4726236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7181481A-2E88-8D46-9166-9ED669A4243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70342" y="3922005"/>
            <a:ext cx="4745659" cy="1707615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47" name="Title Placeholder 1">
            <a:extLst>
              <a:ext uri="{FF2B5EF4-FFF2-40B4-BE49-F238E27FC236}">
                <a16:creationId xmlns:a16="http://schemas.microsoft.com/office/drawing/2014/main" id="{611C7174-4E01-3847-B4C4-CCC7A05178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0342" y="1663545"/>
            <a:ext cx="5023693" cy="18885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>
              <a:defRPr sz="4800"/>
            </a:lvl1pPr>
          </a:lstStyle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245841110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11) Indhold - billedekollag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914401" y="2019996"/>
            <a:ext cx="2796988" cy="3894687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3772861" y="2019996"/>
            <a:ext cx="2796988" cy="1996731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631321" y="2019996"/>
            <a:ext cx="4646279" cy="1996731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6631321" y="4089863"/>
            <a:ext cx="4646279" cy="1824821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3779737" y="4089862"/>
            <a:ext cx="2796988" cy="182692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B04F7A2D-1D60-924D-8691-343C17E54BF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081798" y="4304061"/>
            <a:ext cx="2195929" cy="1426183"/>
          </a:xfrm>
        </p:spPr>
        <p:txBody>
          <a:bodyPr wrap="square" anchor="ctr" anchorCtr="0">
            <a:noAutofit/>
          </a:bodyPr>
          <a:lstStyle>
            <a:lvl1pPr marL="0" indent="0" algn="ctr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34353D1-F63C-274C-A2AA-4931139C8A8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395491"/>
            <a:ext cx="10363200" cy="353796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2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9197B0DB-59BC-5C4E-A85E-E3E4C17531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511513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sz="4800"/>
            </a:lvl1pPr>
          </a:lstStyle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329466471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12) Indhold - billedekollage med 6 bille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5609345" y="2030864"/>
            <a:ext cx="2796988" cy="2010738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914401" y="2030864"/>
            <a:ext cx="4646279" cy="2010738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3611496" y="4098637"/>
            <a:ext cx="4794838" cy="1761837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5" hasCustomPrompt="1"/>
          </p:nvPr>
        </p:nvSpPr>
        <p:spPr>
          <a:xfrm>
            <a:off x="8454999" y="2030864"/>
            <a:ext cx="2822600" cy="2010738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6" hasCustomPrompt="1"/>
          </p:nvPr>
        </p:nvSpPr>
        <p:spPr>
          <a:xfrm>
            <a:off x="914400" y="4098637"/>
            <a:ext cx="2635624" cy="1761837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8454999" y="4098637"/>
            <a:ext cx="2822600" cy="1761837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C433FED9-97B9-584F-A6D1-ED3735AFE12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395491"/>
            <a:ext cx="10363200" cy="353796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2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74EC77A8-1058-604D-AA07-79EB3B6DF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511513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sz="4800"/>
            </a:lvl1pPr>
          </a:lstStyle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2505652434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13) Indhold - billedekollage med 4 bille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5609345" y="2036620"/>
            <a:ext cx="2796988" cy="2038294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914401" y="2036621"/>
            <a:ext cx="4646279" cy="3936251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5" hasCustomPrompt="1"/>
          </p:nvPr>
        </p:nvSpPr>
        <p:spPr>
          <a:xfrm>
            <a:off x="8454999" y="2036620"/>
            <a:ext cx="2822600" cy="2038294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5609346" y="4139739"/>
            <a:ext cx="5668254" cy="1833133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71244420-0C1D-A54B-9BEA-A64234EE088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395491"/>
            <a:ext cx="10363200" cy="353796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2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666A353E-08D4-944F-B5D4-CA3495E1A8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511513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sz="4800"/>
            </a:lvl1pPr>
          </a:lstStyle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1434844901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14) Indhold - venstrestillet billede til k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4D84763A-749E-DF4C-B99D-871E993C55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00800" y="2801961"/>
            <a:ext cx="4876800" cy="530755"/>
          </a:xfrm>
        </p:spPr>
        <p:txBody>
          <a:bodyPr wrap="none" anchor="t" anchorCtr="0">
            <a:noAutofit/>
          </a:bodyPr>
          <a:lstStyle>
            <a:lvl1pPr marL="0" indent="0" algn="l">
              <a:buNone/>
              <a:defRPr lang="da-DK" sz="2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B8FC78A-CE27-2940-BE8B-96410FE597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0800" y="507079"/>
            <a:ext cx="4876800" cy="214364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>
              <a:defRPr sz="4800"/>
            </a:lvl1pPr>
          </a:lstStyle>
          <a:p>
            <a:r>
              <a:rPr lang="da-DK" noProof="0"/>
              <a:t>Klik for at redigere overskrift</a:t>
            </a:r>
          </a:p>
        </p:txBody>
      </p:sp>
      <p:sp>
        <p:nvSpPr>
          <p:cNvPr id="11" name="Pladsholder til tekst 2">
            <a:extLst>
              <a:ext uri="{FF2B5EF4-FFF2-40B4-BE49-F238E27FC236}">
                <a16:creationId xmlns:a16="http://schemas.microsoft.com/office/drawing/2014/main" id="{B7C381B9-37D6-3045-BDBA-382AE79424D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00800" y="3715792"/>
            <a:ext cx="4876800" cy="244394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800"/>
            </a:lvl1pPr>
            <a:lvl3pPr marL="914423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A7226904-5333-1643-A028-C32C08635BC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187116"/>
            <a:ext cx="5450468" cy="6670883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1226346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5) Indhold - Et emne med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4142082" y="477952"/>
            <a:ext cx="3907836" cy="3277515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7181481A-2E88-8D46-9166-9ED669A4243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5023692"/>
            <a:ext cx="10363200" cy="1024569"/>
          </a:xfrm>
        </p:spPr>
        <p:txBody>
          <a:bodyPr wrap="square" anchor="t" anchorCtr="0">
            <a:noAutofit/>
          </a:bodyPr>
          <a:lstStyle>
            <a:lvl1pPr marL="0" indent="0" algn="ctr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47" name="Title Placeholder 1">
            <a:extLst>
              <a:ext uri="{FF2B5EF4-FFF2-40B4-BE49-F238E27FC236}">
                <a16:creationId xmlns:a16="http://schemas.microsoft.com/office/drawing/2014/main" id="{611C7174-4E01-3847-B4C4-CCC7A05178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3830256"/>
            <a:ext cx="10363200" cy="104385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4087062598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15) Indhold - højrestillet billede til k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6756400" y="183586"/>
            <a:ext cx="5435600" cy="6674414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F03205F-5AF1-8C44-8C5D-FA8E93654D7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24560" y="2801961"/>
            <a:ext cx="4876800" cy="530755"/>
          </a:xfrm>
        </p:spPr>
        <p:txBody>
          <a:bodyPr wrap="none" anchor="t" anchorCtr="0">
            <a:noAutofit/>
          </a:bodyPr>
          <a:lstStyle>
            <a:lvl1pPr marL="0" indent="0" algn="l">
              <a:buNone/>
              <a:defRPr lang="da-DK" sz="2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12" name="Pladsholder til tekst 2">
            <a:extLst>
              <a:ext uri="{FF2B5EF4-FFF2-40B4-BE49-F238E27FC236}">
                <a16:creationId xmlns:a16="http://schemas.microsoft.com/office/drawing/2014/main" id="{2C7903EA-DB60-B04D-98D6-FBA25BBCDE5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4560" y="3715792"/>
            <a:ext cx="4876800" cy="244394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800"/>
            </a:lvl1pPr>
            <a:lvl3pPr marL="914423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054F9CDD-2960-D043-9561-8FBD8B17D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24560" y="507079"/>
            <a:ext cx="4876800" cy="214364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>
              <a:defRPr sz="4800"/>
            </a:lvl1pPr>
          </a:lstStyle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253238522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0) Nyt afsnit - Mellemslide (indsæt billed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E0728A4A-9392-3044-A1DB-26D65B235A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23" name="Titel 9">
            <a:extLst>
              <a:ext uri="{FF2B5EF4-FFF2-40B4-BE49-F238E27FC236}">
                <a16:creationId xmlns:a16="http://schemas.microsoft.com/office/drawing/2014/main" id="{F443A15A-C60D-A744-B381-2453017F91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26" name="Billede 25">
            <a:extLst>
              <a:ext uri="{FF2B5EF4-FFF2-40B4-BE49-F238E27FC236}">
                <a16:creationId xmlns:a16="http://schemas.microsoft.com/office/drawing/2014/main" id="{D00CBDA2-D83C-C64D-8FE0-E7AFC79E139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BCF49B0B-A67E-0347-B3E2-E981321E0A3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-1880" y="0"/>
            <a:ext cx="12193879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0 h 6858000"/>
              <a:gd name="connsiteX0" fmla="*/ 18 w 12192018"/>
              <a:gd name="connsiteY0" fmla="*/ 0 h 6858000"/>
              <a:gd name="connsiteX1" fmla="*/ 12192018 w 12192018"/>
              <a:gd name="connsiteY1" fmla="*/ 0 h 6858000"/>
              <a:gd name="connsiteX2" fmla="*/ 12192018 w 12192018"/>
              <a:gd name="connsiteY2" fmla="*/ 6858000 h 6858000"/>
              <a:gd name="connsiteX3" fmla="*/ 18 w 12192018"/>
              <a:gd name="connsiteY3" fmla="*/ 6858000 h 6858000"/>
              <a:gd name="connsiteX4" fmla="*/ 2377458 w 12192018"/>
              <a:gd name="connsiteY4" fmla="*/ 2971800 h 6858000"/>
              <a:gd name="connsiteX5" fmla="*/ 18 w 12192018"/>
              <a:gd name="connsiteY5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3115657 w 12930217"/>
              <a:gd name="connsiteY5" fmla="*/ 2971800 h 6858000"/>
              <a:gd name="connsiteX6" fmla="*/ 738217 w 12930217"/>
              <a:gd name="connsiteY6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3115657 w 12930217"/>
              <a:gd name="connsiteY6" fmla="*/ 2971800 h 6858000"/>
              <a:gd name="connsiteX7" fmla="*/ 738217 w 12930217"/>
              <a:gd name="connsiteY7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749647 w 12930217"/>
              <a:gd name="connsiteY7" fmla="*/ 30861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749647 w 12930217"/>
              <a:gd name="connsiteY7" fmla="*/ 3086100 h 6858000"/>
              <a:gd name="connsiteX8" fmla="*/ 738217 w 12930217"/>
              <a:gd name="connsiteY8" fmla="*/ 0 h 6858000"/>
              <a:gd name="connsiteX0" fmla="*/ 849833 w 13041833"/>
              <a:gd name="connsiteY0" fmla="*/ 0 h 6858000"/>
              <a:gd name="connsiteX1" fmla="*/ 13041833 w 13041833"/>
              <a:gd name="connsiteY1" fmla="*/ 0 h 6858000"/>
              <a:gd name="connsiteX2" fmla="*/ 13041833 w 13041833"/>
              <a:gd name="connsiteY2" fmla="*/ 6858000 h 6858000"/>
              <a:gd name="connsiteX3" fmla="*/ 849833 w 13041833"/>
              <a:gd name="connsiteY3" fmla="*/ 6858000 h 6858000"/>
              <a:gd name="connsiteX4" fmla="*/ 1307033 w 13041833"/>
              <a:gd name="connsiteY4" fmla="*/ 5829300 h 6858000"/>
              <a:gd name="connsiteX5" fmla="*/ 7067754 w 13041833"/>
              <a:gd name="connsiteY5" fmla="*/ 5772150 h 6858000"/>
              <a:gd name="connsiteX6" fmla="*/ 8096454 w 13041833"/>
              <a:gd name="connsiteY6" fmla="*/ 3086100 h 6858000"/>
              <a:gd name="connsiteX7" fmla="*/ 861263 w 13041833"/>
              <a:gd name="connsiteY7" fmla="*/ 3086100 h 6858000"/>
              <a:gd name="connsiteX8" fmla="*/ 849833 w 13041833"/>
              <a:gd name="connsiteY8" fmla="*/ 0 h 6858000"/>
              <a:gd name="connsiteX0" fmla="*/ 796095 w 12988095"/>
              <a:gd name="connsiteY0" fmla="*/ 0 h 6858000"/>
              <a:gd name="connsiteX1" fmla="*/ 12988095 w 12988095"/>
              <a:gd name="connsiteY1" fmla="*/ 0 h 6858000"/>
              <a:gd name="connsiteX2" fmla="*/ 12988095 w 12988095"/>
              <a:gd name="connsiteY2" fmla="*/ 6858000 h 6858000"/>
              <a:gd name="connsiteX3" fmla="*/ 796095 w 12988095"/>
              <a:gd name="connsiteY3" fmla="*/ 6858000 h 6858000"/>
              <a:gd name="connsiteX4" fmla="*/ 1253295 w 12988095"/>
              <a:gd name="connsiteY4" fmla="*/ 5829300 h 6858000"/>
              <a:gd name="connsiteX5" fmla="*/ 7014016 w 12988095"/>
              <a:gd name="connsiteY5" fmla="*/ 5772150 h 6858000"/>
              <a:gd name="connsiteX6" fmla="*/ 8042716 w 12988095"/>
              <a:gd name="connsiteY6" fmla="*/ 3086100 h 6858000"/>
              <a:gd name="connsiteX7" fmla="*/ 807525 w 12988095"/>
              <a:gd name="connsiteY7" fmla="*/ 3086100 h 6858000"/>
              <a:gd name="connsiteX8" fmla="*/ 796095 w 12988095"/>
              <a:gd name="connsiteY8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457200 w 12192000"/>
              <a:gd name="connsiteY4" fmla="*/ 5829300 h 6858000"/>
              <a:gd name="connsiteX5" fmla="*/ 6217921 w 12192000"/>
              <a:gd name="connsiteY5" fmla="*/ 5772150 h 6858000"/>
              <a:gd name="connsiteX6" fmla="*/ 7246621 w 12192000"/>
              <a:gd name="connsiteY6" fmla="*/ 3086100 h 6858000"/>
              <a:gd name="connsiteX7" fmla="*/ 11430 w 12192000"/>
              <a:gd name="connsiteY7" fmla="*/ 3086100 h 6858000"/>
              <a:gd name="connsiteX8" fmla="*/ 0 w 12192000"/>
              <a:gd name="connsiteY8" fmla="*/ 0 h 6858000"/>
              <a:gd name="connsiteX0" fmla="*/ 45732 w 12237732"/>
              <a:gd name="connsiteY0" fmla="*/ 0 h 6858000"/>
              <a:gd name="connsiteX1" fmla="*/ 12237732 w 12237732"/>
              <a:gd name="connsiteY1" fmla="*/ 0 h 6858000"/>
              <a:gd name="connsiteX2" fmla="*/ 12237732 w 12237732"/>
              <a:gd name="connsiteY2" fmla="*/ 6858000 h 6858000"/>
              <a:gd name="connsiteX3" fmla="*/ 45732 w 12237732"/>
              <a:gd name="connsiteY3" fmla="*/ 6858000 h 6858000"/>
              <a:gd name="connsiteX4" fmla="*/ 57162 w 12237732"/>
              <a:gd name="connsiteY4" fmla="*/ 5806440 h 6858000"/>
              <a:gd name="connsiteX5" fmla="*/ 6263653 w 12237732"/>
              <a:gd name="connsiteY5" fmla="*/ 5772150 h 6858000"/>
              <a:gd name="connsiteX6" fmla="*/ 7292353 w 12237732"/>
              <a:gd name="connsiteY6" fmla="*/ 3086100 h 6858000"/>
              <a:gd name="connsiteX7" fmla="*/ 57162 w 12237732"/>
              <a:gd name="connsiteY7" fmla="*/ 3086100 h 6858000"/>
              <a:gd name="connsiteX8" fmla="*/ 45732 w 12237732"/>
              <a:gd name="connsiteY8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11430 w 12192000"/>
              <a:gd name="connsiteY4" fmla="*/ 5806440 h 6858000"/>
              <a:gd name="connsiteX5" fmla="*/ 6217921 w 12192000"/>
              <a:gd name="connsiteY5" fmla="*/ 5772150 h 6858000"/>
              <a:gd name="connsiteX6" fmla="*/ 7246621 w 12192000"/>
              <a:gd name="connsiteY6" fmla="*/ 3086100 h 6858000"/>
              <a:gd name="connsiteX7" fmla="*/ 11430 w 12192000"/>
              <a:gd name="connsiteY7" fmla="*/ 3086100 h 6858000"/>
              <a:gd name="connsiteX8" fmla="*/ 0 w 12192000"/>
              <a:gd name="connsiteY8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11430 w 12192000"/>
              <a:gd name="connsiteY4" fmla="*/ 5806440 h 6858000"/>
              <a:gd name="connsiteX5" fmla="*/ 6217921 w 12192000"/>
              <a:gd name="connsiteY5" fmla="*/ 5772150 h 6858000"/>
              <a:gd name="connsiteX6" fmla="*/ 7246621 w 12192000"/>
              <a:gd name="connsiteY6" fmla="*/ 3086100 h 6858000"/>
              <a:gd name="connsiteX7" fmla="*/ 11430 w 12192000"/>
              <a:gd name="connsiteY7" fmla="*/ 3086100 h 6858000"/>
              <a:gd name="connsiteX8" fmla="*/ 0 w 12192000"/>
              <a:gd name="connsiteY8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11430 w 12192000"/>
              <a:gd name="connsiteY4" fmla="*/ 5806440 h 6858000"/>
              <a:gd name="connsiteX5" fmla="*/ 7223761 w 12192000"/>
              <a:gd name="connsiteY5" fmla="*/ 5806440 h 6858000"/>
              <a:gd name="connsiteX6" fmla="*/ 7246621 w 12192000"/>
              <a:gd name="connsiteY6" fmla="*/ 3086100 h 6858000"/>
              <a:gd name="connsiteX7" fmla="*/ 11430 w 12192000"/>
              <a:gd name="connsiteY7" fmla="*/ 3086100 h 6858000"/>
              <a:gd name="connsiteX8" fmla="*/ 0 w 12192000"/>
              <a:gd name="connsiteY8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11430 w 12192000"/>
              <a:gd name="connsiteY4" fmla="*/ 5806440 h 6858000"/>
              <a:gd name="connsiteX5" fmla="*/ 7223761 w 12192000"/>
              <a:gd name="connsiteY5" fmla="*/ 5806440 h 6858000"/>
              <a:gd name="connsiteX6" fmla="*/ 7246621 w 12192000"/>
              <a:gd name="connsiteY6" fmla="*/ 3086100 h 6858000"/>
              <a:gd name="connsiteX7" fmla="*/ 11430 w 12192000"/>
              <a:gd name="connsiteY7" fmla="*/ 3086100 h 6858000"/>
              <a:gd name="connsiteX8" fmla="*/ 0 w 12192000"/>
              <a:gd name="connsiteY8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11430 w 12192000"/>
              <a:gd name="connsiteY4" fmla="*/ 5806440 h 6858000"/>
              <a:gd name="connsiteX5" fmla="*/ 7223761 w 12192000"/>
              <a:gd name="connsiteY5" fmla="*/ 5806440 h 6858000"/>
              <a:gd name="connsiteX6" fmla="*/ 7246621 w 12192000"/>
              <a:gd name="connsiteY6" fmla="*/ 3086100 h 6858000"/>
              <a:gd name="connsiteX7" fmla="*/ 11430 w 12192000"/>
              <a:gd name="connsiteY7" fmla="*/ 3086100 h 6858000"/>
              <a:gd name="connsiteX8" fmla="*/ 0 w 12192000"/>
              <a:gd name="connsiteY8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11430 w 12192000"/>
              <a:gd name="connsiteY4" fmla="*/ 5806440 h 6858000"/>
              <a:gd name="connsiteX5" fmla="*/ 7223761 w 12192000"/>
              <a:gd name="connsiteY5" fmla="*/ 5806440 h 6858000"/>
              <a:gd name="connsiteX6" fmla="*/ 7246621 w 12192000"/>
              <a:gd name="connsiteY6" fmla="*/ 3086100 h 6858000"/>
              <a:gd name="connsiteX7" fmla="*/ 11430 w 12192000"/>
              <a:gd name="connsiteY7" fmla="*/ 3086100 h 6858000"/>
              <a:gd name="connsiteX8" fmla="*/ 0 w 12192000"/>
              <a:gd name="connsiteY8" fmla="*/ 0 h 6858000"/>
              <a:gd name="connsiteX0" fmla="*/ 1270 w 12193270"/>
              <a:gd name="connsiteY0" fmla="*/ 0 h 6858000"/>
              <a:gd name="connsiteX1" fmla="*/ 12193270 w 12193270"/>
              <a:gd name="connsiteY1" fmla="*/ 0 h 6858000"/>
              <a:gd name="connsiteX2" fmla="*/ 12193270 w 12193270"/>
              <a:gd name="connsiteY2" fmla="*/ 6858000 h 6858000"/>
              <a:gd name="connsiteX3" fmla="*/ 1270 w 12193270"/>
              <a:gd name="connsiteY3" fmla="*/ 6858000 h 6858000"/>
              <a:gd name="connsiteX4" fmla="*/ 12700 w 12193270"/>
              <a:gd name="connsiteY4" fmla="*/ 5806440 h 6858000"/>
              <a:gd name="connsiteX5" fmla="*/ 7225031 w 12193270"/>
              <a:gd name="connsiteY5" fmla="*/ 5806440 h 6858000"/>
              <a:gd name="connsiteX6" fmla="*/ 7247891 w 12193270"/>
              <a:gd name="connsiteY6" fmla="*/ 3086100 h 6858000"/>
              <a:gd name="connsiteX7" fmla="*/ 0 w 12193270"/>
              <a:gd name="connsiteY7" fmla="*/ 3092450 h 6858000"/>
              <a:gd name="connsiteX8" fmla="*/ 1270 w 12193270"/>
              <a:gd name="connsiteY8" fmla="*/ 0 h 6858000"/>
              <a:gd name="connsiteX0" fmla="*/ 1270 w 12193270"/>
              <a:gd name="connsiteY0" fmla="*/ 0 h 6858000"/>
              <a:gd name="connsiteX1" fmla="*/ 12193270 w 12193270"/>
              <a:gd name="connsiteY1" fmla="*/ 0 h 6858000"/>
              <a:gd name="connsiteX2" fmla="*/ 12193270 w 12193270"/>
              <a:gd name="connsiteY2" fmla="*/ 6858000 h 6858000"/>
              <a:gd name="connsiteX3" fmla="*/ 1270 w 12193270"/>
              <a:gd name="connsiteY3" fmla="*/ 6858000 h 6858000"/>
              <a:gd name="connsiteX4" fmla="*/ 6350 w 12193270"/>
              <a:gd name="connsiteY4" fmla="*/ 5825490 h 6858000"/>
              <a:gd name="connsiteX5" fmla="*/ 7225031 w 12193270"/>
              <a:gd name="connsiteY5" fmla="*/ 5806440 h 6858000"/>
              <a:gd name="connsiteX6" fmla="*/ 7247891 w 12193270"/>
              <a:gd name="connsiteY6" fmla="*/ 3086100 h 6858000"/>
              <a:gd name="connsiteX7" fmla="*/ 0 w 12193270"/>
              <a:gd name="connsiteY7" fmla="*/ 3092450 h 6858000"/>
              <a:gd name="connsiteX8" fmla="*/ 1270 w 12193270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25640 w 12193879"/>
              <a:gd name="connsiteY5" fmla="*/ 5806440 h 6858000"/>
              <a:gd name="connsiteX6" fmla="*/ 7248500 w 12193879"/>
              <a:gd name="connsiteY6" fmla="*/ 308610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25640 w 12193879"/>
              <a:gd name="connsiteY5" fmla="*/ 5806440 h 6858000"/>
              <a:gd name="connsiteX6" fmla="*/ 7248500 w 12193879"/>
              <a:gd name="connsiteY6" fmla="*/ 308610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51040 w 12193879"/>
              <a:gd name="connsiteY5" fmla="*/ 5825490 h 6858000"/>
              <a:gd name="connsiteX6" fmla="*/ 7248500 w 12193879"/>
              <a:gd name="connsiteY6" fmla="*/ 308610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51040 w 12193879"/>
              <a:gd name="connsiteY5" fmla="*/ 5825490 h 6858000"/>
              <a:gd name="connsiteX6" fmla="*/ 7248500 w 12193879"/>
              <a:gd name="connsiteY6" fmla="*/ 308610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51040 w 12193879"/>
              <a:gd name="connsiteY5" fmla="*/ 5825490 h 6858000"/>
              <a:gd name="connsiteX6" fmla="*/ 7245325 w 12193879"/>
              <a:gd name="connsiteY6" fmla="*/ 309245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51040 w 12193879"/>
              <a:gd name="connsiteY5" fmla="*/ 5825490 h 6858000"/>
              <a:gd name="connsiteX6" fmla="*/ 7245325 w 12193879"/>
              <a:gd name="connsiteY6" fmla="*/ 309245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51040 w 12193879"/>
              <a:gd name="connsiteY5" fmla="*/ 5825490 h 6858000"/>
              <a:gd name="connsiteX6" fmla="*/ 7245325 w 12193879"/>
              <a:gd name="connsiteY6" fmla="*/ 309245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51040 w 12193879"/>
              <a:gd name="connsiteY5" fmla="*/ 5825490 h 6858000"/>
              <a:gd name="connsiteX6" fmla="*/ 7254850 w 12193879"/>
              <a:gd name="connsiteY6" fmla="*/ 309245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51040 w 12193879"/>
              <a:gd name="connsiteY5" fmla="*/ 5825490 h 6858000"/>
              <a:gd name="connsiteX6" fmla="*/ 7254850 w 12193879"/>
              <a:gd name="connsiteY6" fmla="*/ 309245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47865 w 12193879"/>
              <a:gd name="connsiteY5" fmla="*/ 5825490 h 6858000"/>
              <a:gd name="connsiteX6" fmla="*/ 7254850 w 12193879"/>
              <a:gd name="connsiteY6" fmla="*/ 309245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47865 w 12193879"/>
              <a:gd name="connsiteY5" fmla="*/ 5825490 h 6858000"/>
              <a:gd name="connsiteX6" fmla="*/ 7251675 w 12193879"/>
              <a:gd name="connsiteY6" fmla="*/ 3089275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47865 w 12193879"/>
              <a:gd name="connsiteY5" fmla="*/ 5819140 h 6858000"/>
              <a:gd name="connsiteX6" fmla="*/ 7251675 w 12193879"/>
              <a:gd name="connsiteY6" fmla="*/ 3089275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3879" h="6858000">
                <a:moveTo>
                  <a:pt x="1879" y="0"/>
                </a:moveTo>
                <a:lnTo>
                  <a:pt x="12193879" y="0"/>
                </a:lnTo>
                <a:lnTo>
                  <a:pt x="12193879" y="6858000"/>
                </a:lnTo>
                <a:lnTo>
                  <a:pt x="1879" y="6858000"/>
                </a:lnTo>
                <a:cubicBezTo>
                  <a:pt x="2514" y="6059805"/>
                  <a:pt x="-3836" y="6492875"/>
                  <a:pt x="3784" y="5822315"/>
                </a:cubicBezTo>
                <a:lnTo>
                  <a:pt x="7247865" y="5819140"/>
                </a:lnTo>
                <a:cubicBezTo>
                  <a:pt x="7250405" y="4772660"/>
                  <a:pt x="7247230" y="4008755"/>
                  <a:pt x="7251675" y="3089275"/>
                </a:cubicBezTo>
                <a:lnTo>
                  <a:pt x="609" y="3092450"/>
                </a:lnTo>
                <a:cubicBezTo>
                  <a:pt x="1032" y="2061633"/>
                  <a:pt x="1456" y="1030817"/>
                  <a:pt x="1879" y="0"/>
                </a:cubicBezTo>
                <a:close/>
              </a:path>
            </a:pathLst>
          </a:custGeom>
          <a:noFill/>
          <a:effectLst/>
        </p:spPr>
        <p:txBody>
          <a:bodyPr tIns="1692000"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800" b="0" baseline="0">
                <a:latin typeface="+mj-lt"/>
              </a:defRPr>
            </a:lvl1pPr>
          </a:lstStyle>
          <a:p>
            <a:r>
              <a:rPr lang="en-US" err="1"/>
              <a:t>Indsæt</a:t>
            </a:r>
            <a:r>
              <a:rPr lang="en-US"/>
              <a:t> </a:t>
            </a:r>
            <a:r>
              <a:rPr lang="en-US" err="1"/>
              <a:t>billiede</a:t>
            </a:r>
            <a:r>
              <a:rPr lang="en-US"/>
              <a:t>, </a:t>
            </a:r>
            <a:r>
              <a:rPr lang="en-US" err="1"/>
              <a:t>klik</a:t>
            </a:r>
            <a:r>
              <a:rPr lang="en-US"/>
              <a:t> her</a:t>
            </a:r>
          </a:p>
        </p:txBody>
      </p:sp>
      <p:grpSp>
        <p:nvGrpSpPr>
          <p:cNvPr id="10" name="Gruppe 9">
            <a:extLst>
              <a:ext uri="{FF2B5EF4-FFF2-40B4-BE49-F238E27FC236}">
                <a16:creationId xmlns:a16="http://schemas.microsoft.com/office/drawing/2014/main" id="{6A1B4D00-31DD-DC4B-AFF0-EF1A65F4B3C9}"/>
              </a:ext>
            </a:extLst>
          </p:cNvPr>
          <p:cNvGrpSpPr/>
          <p:nvPr userDrawn="1"/>
        </p:nvGrpSpPr>
        <p:grpSpPr>
          <a:xfrm rot="17162911" flipH="1">
            <a:off x="6421968" y="2335518"/>
            <a:ext cx="837630" cy="491500"/>
            <a:chOff x="3807407" y="1614978"/>
            <a:chExt cx="750355" cy="334433"/>
          </a:xfrm>
        </p:grpSpPr>
        <p:sp>
          <p:nvSpPr>
            <p:cNvPr id="11" name="Kombinationstegning 10">
              <a:extLst>
                <a:ext uri="{FF2B5EF4-FFF2-40B4-BE49-F238E27FC236}">
                  <a16:creationId xmlns:a16="http://schemas.microsoft.com/office/drawing/2014/main" id="{8133E8D6-A266-494A-9802-FFC988866083}"/>
                </a:ext>
              </a:extLst>
            </p:cNvPr>
            <p:cNvSpPr/>
            <p:nvPr/>
          </p:nvSpPr>
          <p:spPr>
            <a:xfrm>
              <a:off x="3807407" y="1651138"/>
              <a:ext cx="674427" cy="298273"/>
            </a:xfrm>
            <a:custGeom>
              <a:avLst/>
              <a:gdLst>
                <a:gd name="connsiteX0" fmla="*/ 161131 w 674427"/>
                <a:gd name="connsiteY0" fmla="*/ 238844 h 298273"/>
                <a:gd name="connsiteX1" fmla="*/ 163986 w 674427"/>
                <a:gd name="connsiteY1" fmla="*/ 237892 h 298273"/>
                <a:gd name="connsiteX2" fmla="*/ 136381 w 674427"/>
                <a:gd name="connsiteY2" fmla="*/ 250263 h 298273"/>
                <a:gd name="connsiteX3" fmla="*/ 194447 w 674427"/>
                <a:gd name="connsiteY3" fmla="*/ 220764 h 298273"/>
                <a:gd name="connsiteX4" fmla="*/ 218245 w 674427"/>
                <a:gd name="connsiteY4" fmla="*/ 216006 h 298273"/>
                <a:gd name="connsiteX5" fmla="*/ 229667 w 674427"/>
                <a:gd name="connsiteY5" fmla="*/ 208394 h 298273"/>
                <a:gd name="connsiteX6" fmla="*/ 222052 w 674427"/>
                <a:gd name="connsiteY6" fmla="*/ 213152 h 298273"/>
                <a:gd name="connsiteX7" fmla="*/ 229667 w 674427"/>
                <a:gd name="connsiteY7" fmla="*/ 208394 h 298273"/>
                <a:gd name="connsiteX8" fmla="*/ 313435 w 674427"/>
                <a:gd name="connsiteY8" fmla="*/ 169379 h 298273"/>
                <a:gd name="connsiteX9" fmla="*/ 392442 w 674427"/>
                <a:gd name="connsiteY9" fmla="*/ 137978 h 298273"/>
                <a:gd name="connsiteX10" fmla="*/ 400057 w 674427"/>
                <a:gd name="connsiteY10" fmla="*/ 135123 h 298273"/>
                <a:gd name="connsiteX11" fmla="*/ 391490 w 674427"/>
                <a:gd name="connsiteY11" fmla="*/ 137978 h 298273"/>
                <a:gd name="connsiteX12" fmla="*/ 418144 w 674427"/>
                <a:gd name="connsiteY12" fmla="*/ 121801 h 298273"/>
                <a:gd name="connsiteX13" fmla="*/ 411480 w 674427"/>
                <a:gd name="connsiteY13" fmla="*/ 121801 h 298273"/>
                <a:gd name="connsiteX14" fmla="*/ 416240 w 674427"/>
                <a:gd name="connsiteY14" fmla="*/ 119898 h 298273"/>
                <a:gd name="connsiteX15" fmla="*/ 433374 w 674427"/>
                <a:gd name="connsiteY15" fmla="*/ 109430 h 298273"/>
                <a:gd name="connsiteX16" fmla="*/ 440037 w 674427"/>
                <a:gd name="connsiteY16" fmla="*/ 108479 h 298273"/>
                <a:gd name="connsiteX17" fmla="*/ 438133 w 674427"/>
                <a:gd name="connsiteY17" fmla="*/ 108479 h 298273"/>
                <a:gd name="connsiteX18" fmla="*/ 474306 w 674427"/>
                <a:gd name="connsiteY18" fmla="*/ 92302 h 298273"/>
                <a:gd name="connsiteX19" fmla="*/ 478113 w 674427"/>
                <a:gd name="connsiteY19" fmla="*/ 91351 h 298273"/>
                <a:gd name="connsiteX20" fmla="*/ 488584 w 674427"/>
                <a:gd name="connsiteY20" fmla="*/ 86593 h 298273"/>
                <a:gd name="connsiteX21" fmla="*/ 493344 w 674427"/>
                <a:gd name="connsiteY21" fmla="*/ 87544 h 298273"/>
                <a:gd name="connsiteX22" fmla="*/ 515237 w 674427"/>
                <a:gd name="connsiteY22" fmla="*/ 76126 h 298273"/>
                <a:gd name="connsiteX23" fmla="*/ 555217 w 674427"/>
                <a:gd name="connsiteY23" fmla="*/ 58997 h 298273"/>
                <a:gd name="connsiteX24" fmla="*/ 596149 w 674427"/>
                <a:gd name="connsiteY24" fmla="*/ 40917 h 298273"/>
                <a:gd name="connsiteX25" fmla="*/ 595197 w 674427"/>
                <a:gd name="connsiteY25" fmla="*/ 40917 h 298273"/>
                <a:gd name="connsiteX26" fmla="*/ 624706 w 674427"/>
                <a:gd name="connsiteY26" fmla="*/ 27596 h 298273"/>
                <a:gd name="connsiteX27" fmla="*/ 646599 w 674427"/>
                <a:gd name="connsiteY27" fmla="*/ 14274 h 298273"/>
                <a:gd name="connsiteX28" fmla="*/ 669445 w 674427"/>
                <a:gd name="connsiteY28" fmla="*/ 4758 h 298273"/>
                <a:gd name="connsiteX29" fmla="*/ 673253 w 674427"/>
                <a:gd name="connsiteY29" fmla="*/ 0 h 298273"/>
                <a:gd name="connsiteX30" fmla="*/ 659926 w 674427"/>
                <a:gd name="connsiteY30" fmla="*/ 1903 h 298273"/>
                <a:gd name="connsiteX31" fmla="*/ 659926 w 674427"/>
                <a:gd name="connsiteY31" fmla="*/ 1903 h 298273"/>
                <a:gd name="connsiteX32" fmla="*/ 581870 w 674427"/>
                <a:gd name="connsiteY32" fmla="*/ 23789 h 298273"/>
                <a:gd name="connsiteX33" fmla="*/ 528564 w 674427"/>
                <a:gd name="connsiteY33" fmla="*/ 44724 h 298273"/>
                <a:gd name="connsiteX34" fmla="*/ 474306 w 674427"/>
                <a:gd name="connsiteY34" fmla="*/ 69465 h 298273"/>
                <a:gd name="connsiteX35" fmla="*/ 463835 w 674427"/>
                <a:gd name="connsiteY35" fmla="*/ 72319 h 298273"/>
                <a:gd name="connsiteX36" fmla="*/ 414336 w 674427"/>
                <a:gd name="connsiteY36" fmla="*/ 94205 h 298273"/>
                <a:gd name="connsiteX37" fmla="*/ 415288 w 674427"/>
                <a:gd name="connsiteY37" fmla="*/ 94205 h 298273"/>
                <a:gd name="connsiteX38" fmla="*/ 390538 w 674427"/>
                <a:gd name="connsiteY38" fmla="*/ 103721 h 298273"/>
                <a:gd name="connsiteX39" fmla="*/ 388635 w 674427"/>
                <a:gd name="connsiteY39" fmla="*/ 105624 h 298273"/>
                <a:gd name="connsiteX40" fmla="*/ 336280 w 674427"/>
                <a:gd name="connsiteY40" fmla="*/ 132268 h 298273"/>
                <a:gd name="connsiteX41" fmla="*/ 333424 w 674427"/>
                <a:gd name="connsiteY41" fmla="*/ 134171 h 298273"/>
                <a:gd name="connsiteX42" fmla="*/ 280118 w 674427"/>
                <a:gd name="connsiteY42" fmla="*/ 154154 h 298273"/>
                <a:gd name="connsiteX43" fmla="*/ 271551 w 674427"/>
                <a:gd name="connsiteY43" fmla="*/ 161767 h 298273"/>
                <a:gd name="connsiteX44" fmla="*/ 264888 w 674427"/>
                <a:gd name="connsiteY44" fmla="*/ 165573 h 298273"/>
                <a:gd name="connsiteX45" fmla="*/ 255369 w 674427"/>
                <a:gd name="connsiteY45" fmla="*/ 169379 h 298273"/>
                <a:gd name="connsiteX46" fmla="*/ 235379 w 674427"/>
                <a:gd name="connsiteY46" fmla="*/ 178895 h 298273"/>
                <a:gd name="connsiteX47" fmla="*/ 227764 w 674427"/>
                <a:gd name="connsiteY47" fmla="*/ 183653 h 298273"/>
                <a:gd name="connsiteX48" fmla="*/ 222052 w 674427"/>
                <a:gd name="connsiteY48" fmla="*/ 184604 h 298273"/>
                <a:gd name="connsiteX49" fmla="*/ 210629 w 674427"/>
                <a:gd name="connsiteY49" fmla="*/ 189362 h 298273"/>
                <a:gd name="connsiteX50" fmla="*/ 193495 w 674427"/>
                <a:gd name="connsiteY50" fmla="*/ 199829 h 298273"/>
                <a:gd name="connsiteX51" fmla="*/ 194447 w 674427"/>
                <a:gd name="connsiteY51" fmla="*/ 198878 h 298273"/>
                <a:gd name="connsiteX52" fmla="*/ 173505 w 674427"/>
                <a:gd name="connsiteY52" fmla="*/ 205539 h 298273"/>
                <a:gd name="connsiteX53" fmla="*/ 112584 w 674427"/>
                <a:gd name="connsiteY53" fmla="*/ 235038 h 298273"/>
                <a:gd name="connsiteX54" fmla="*/ 117343 w 674427"/>
                <a:gd name="connsiteY54" fmla="*/ 234086 h 298273"/>
                <a:gd name="connsiteX55" fmla="*/ 83075 w 674427"/>
                <a:gd name="connsiteY55" fmla="*/ 248360 h 298273"/>
                <a:gd name="connsiteX56" fmla="*/ 77363 w 674427"/>
                <a:gd name="connsiteY56" fmla="*/ 249311 h 298273"/>
                <a:gd name="connsiteX57" fmla="*/ 72604 w 674427"/>
                <a:gd name="connsiteY57" fmla="*/ 252166 h 298273"/>
                <a:gd name="connsiteX58" fmla="*/ 71652 w 674427"/>
                <a:gd name="connsiteY58" fmla="*/ 251214 h 298273"/>
                <a:gd name="connsiteX59" fmla="*/ 62133 w 674427"/>
                <a:gd name="connsiteY59" fmla="*/ 255021 h 298273"/>
                <a:gd name="connsiteX60" fmla="*/ 59277 w 674427"/>
                <a:gd name="connsiteY60" fmla="*/ 256924 h 298273"/>
                <a:gd name="connsiteX61" fmla="*/ 55470 w 674427"/>
                <a:gd name="connsiteY61" fmla="*/ 257875 h 298273"/>
                <a:gd name="connsiteX62" fmla="*/ 55470 w 674427"/>
                <a:gd name="connsiteY62" fmla="*/ 257875 h 298273"/>
                <a:gd name="connsiteX63" fmla="*/ 53566 w 674427"/>
                <a:gd name="connsiteY63" fmla="*/ 258827 h 298273"/>
                <a:gd name="connsiteX64" fmla="*/ 39287 w 674427"/>
                <a:gd name="connsiteY64" fmla="*/ 271197 h 298273"/>
                <a:gd name="connsiteX65" fmla="*/ 38335 w 674427"/>
                <a:gd name="connsiteY65" fmla="*/ 271197 h 298273"/>
                <a:gd name="connsiteX66" fmla="*/ 37384 w 674427"/>
                <a:gd name="connsiteY66" fmla="*/ 273100 h 298273"/>
                <a:gd name="connsiteX67" fmla="*/ 34528 w 674427"/>
                <a:gd name="connsiteY67" fmla="*/ 274052 h 298273"/>
                <a:gd name="connsiteX68" fmla="*/ 34528 w 674427"/>
                <a:gd name="connsiteY68" fmla="*/ 274052 h 298273"/>
                <a:gd name="connsiteX69" fmla="*/ 31672 w 674427"/>
                <a:gd name="connsiteY69" fmla="*/ 275004 h 298273"/>
                <a:gd name="connsiteX70" fmla="*/ 30720 w 674427"/>
                <a:gd name="connsiteY70" fmla="*/ 274052 h 298273"/>
                <a:gd name="connsiteX71" fmla="*/ 26913 w 674427"/>
                <a:gd name="connsiteY71" fmla="*/ 276907 h 298273"/>
                <a:gd name="connsiteX72" fmla="*/ 41191 w 674427"/>
                <a:gd name="connsiteY72" fmla="*/ 274052 h 298273"/>
                <a:gd name="connsiteX73" fmla="*/ 34528 w 674427"/>
                <a:gd name="connsiteY73" fmla="*/ 276907 h 298273"/>
                <a:gd name="connsiteX74" fmla="*/ 23105 w 674427"/>
                <a:gd name="connsiteY74" fmla="*/ 279761 h 298273"/>
                <a:gd name="connsiteX75" fmla="*/ 20249 w 674427"/>
                <a:gd name="connsiteY75" fmla="*/ 281664 h 298273"/>
                <a:gd name="connsiteX76" fmla="*/ 16442 w 674427"/>
                <a:gd name="connsiteY76" fmla="*/ 282616 h 298273"/>
                <a:gd name="connsiteX77" fmla="*/ 21201 w 674427"/>
                <a:gd name="connsiteY77" fmla="*/ 279761 h 298273"/>
                <a:gd name="connsiteX78" fmla="*/ 15490 w 674427"/>
                <a:gd name="connsiteY78" fmla="*/ 281664 h 298273"/>
                <a:gd name="connsiteX79" fmla="*/ 9778 w 674427"/>
                <a:gd name="connsiteY79" fmla="*/ 284519 h 298273"/>
                <a:gd name="connsiteX80" fmla="*/ 5971 w 674427"/>
                <a:gd name="connsiteY80" fmla="*/ 284519 h 298273"/>
                <a:gd name="connsiteX81" fmla="*/ 5019 w 674427"/>
                <a:gd name="connsiteY81" fmla="*/ 286422 h 298273"/>
                <a:gd name="connsiteX82" fmla="*/ 9778 w 674427"/>
                <a:gd name="connsiteY82" fmla="*/ 286422 h 298273"/>
                <a:gd name="connsiteX83" fmla="*/ 5019 w 674427"/>
                <a:gd name="connsiteY83" fmla="*/ 288325 h 298273"/>
                <a:gd name="connsiteX84" fmla="*/ 5971 w 674427"/>
                <a:gd name="connsiteY84" fmla="*/ 289277 h 298273"/>
                <a:gd name="connsiteX85" fmla="*/ 1211 w 674427"/>
                <a:gd name="connsiteY85" fmla="*/ 291180 h 298273"/>
                <a:gd name="connsiteX86" fmla="*/ 2163 w 674427"/>
                <a:gd name="connsiteY86" fmla="*/ 290229 h 298273"/>
                <a:gd name="connsiteX87" fmla="*/ 8827 w 674427"/>
                <a:gd name="connsiteY87" fmla="*/ 281664 h 298273"/>
                <a:gd name="connsiteX88" fmla="*/ 259 w 674427"/>
                <a:gd name="connsiteY88" fmla="*/ 291180 h 298273"/>
                <a:gd name="connsiteX89" fmla="*/ 1211 w 674427"/>
                <a:gd name="connsiteY89" fmla="*/ 292132 h 298273"/>
                <a:gd name="connsiteX90" fmla="*/ 2163 w 674427"/>
                <a:gd name="connsiteY90" fmla="*/ 290229 h 298273"/>
                <a:gd name="connsiteX91" fmla="*/ 5019 w 674427"/>
                <a:gd name="connsiteY91" fmla="*/ 291180 h 298273"/>
                <a:gd name="connsiteX92" fmla="*/ 8827 w 674427"/>
                <a:gd name="connsiteY92" fmla="*/ 284519 h 298273"/>
                <a:gd name="connsiteX93" fmla="*/ 9778 w 674427"/>
                <a:gd name="connsiteY93" fmla="*/ 284519 h 298273"/>
                <a:gd name="connsiteX94" fmla="*/ 5019 w 674427"/>
                <a:gd name="connsiteY94" fmla="*/ 287374 h 298273"/>
                <a:gd name="connsiteX95" fmla="*/ 3115 w 674427"/>
                <a:gd name="connsiteY95" fmla="*/ 290229 h 298273"/>
                <a:gd name="connsiteX96" fmla="*/ 2163 w 674427"/>
                <a:gd name="connsiteY96" fmla="*/ 290229 h 298273"/>
                <a:gd name="connsiteX97" fmla="*/ 259 w 674427"/>
                <a:gd name="connsiteY97" fmla="*/ 292132 h 298273"/>
                <a:gd name="connsiteX98" fmla="*/ 5971 w 674427"/>
                <a:gd name="connsiteY98" fmla="*/ 297841 h 298273"/>
                <a:gd name="connsiteX99" fmla="*/ 9778 w 674427"/>
                <a:gd name="connsiteY99" fmla="*/ 294035 h 298273"/>
                <a:gd name="connsiteX100" fmla="*/ 14538 w 674427"/>
                <a:gd name="connsiteY100" fmla="*/ 294035 h 298273"/>
                <a:gd name="connsiteX101" fmla="*/ 15490 w 674427"/>
                <a:gd name="connsiteY101" fmla="*/ 292132 h 298273"/>
                <a:gd name="connsiteX102" fmla="*/ 19297 w 674427"/>
                <a:gd name="connsiteY102" fmla="*/ 292132 h 298273"/>
                <a:gd name="connsiteX103" fmla="*/ 24057 w 674427"/>
                <a:gd name="connsiteY103" fmla="*/ 290229 h 298273"/>
                <a:gd name="connsiteX104" fmla="*/ 25009 w 674427"/>
                <a:gd name="connsiteY104" fmla="*/ 289277 h 298273"/>
                <a:gd name="connsiteX105" fmla="*/ 32624 w 674427"/>
                <a:gd name="connsiteY105" fmla="*/ 285471 h 298273"/>
                <a:gd name="connsiteX106" fmla="*/ 35480 w 674427"/>
                <a:gd name="connsiteY106" fmla="*/ 288325 h 298273"/>
                <a:gd name="connsiteX107" fmla="*/ 32624 w 674427"/>
                <a:gd name="connsiteY107" fmla="*/ 288325 h 298273"/>
                <a:gd name="connsiteX108" fmla="*/ 29768 w 674427"/>
                <a:gd name="connsiteY108" fmla="*/ 292132 h 298273"/>
                <a:gd name="connsiteX109" fmla="*/ 35480 w 674427"/>
                <a:gd name="connsiteY109" fmla="*/ 290229 h 298273"/>
                <a:gd name="connsiteX110" fmla="*/ 34528 w 674427"/>
                <a:gd name="connsiteY110" fmla="*/ 290229 h 298273"/>
                <a:gd name="connsiteX111" fmla="*/ 42143 w 674427"/>
                <a:gd name="connsiteY111" fmla="*/ 286422 h 298273"/>
                <a:gd name="connsiteX112" fmla="*/ 42143 w 674427"/>
                <a:gd name="connsiteY112" fmla="*/ 288325 h 298273"/>
                <a:gd name="connsiteX113" fmla="*/ 44999 w 674427"/>
                <a:gd name="connsiteY113" fmla="*/ 287374 h 298273"/>
                <a:gd name="connsiteX114" fmla="*/ 44999 w 674427"/>
                <a:gd name="connsiteY114" fmla="*/ 287374 h 298273"/>
                <a:gd name="connsiteX115" fmla="*/ 48806 w 674427"/>
                <a:gd name="connsiteY115" fmla="*/ 285471 h 298273"/>
                <a:gd name="connsiteX116" fmla="*/ 61181 w 674427"/>
                <a:gd name="connsiteY116" fmla="*/ 276907 h 298273"/>
                <a:gd name="connsiteX117" fmla="*/ 64989 w 674427"/>
                <a:gd name="connsiteY117" fmla="*/ 275004 h 298273"/>
                <a:gd name="connsiteX118" fmla="*/ 50710 w 674427"/>
                <a:gd name="connsiteY118" fmla="*/ 284519 h 298273"/>
                <a:gd name="connsiteX119" fmla="*/ 71652 w 674427"/>
                <a:gd name="connsiteY119" fmla="*/ 272149 h 298273"/>
                <a:gd name="connsiteX120" fmla="*/ 73556 w 674427"/>
                <a:gd name="connsiteY120" fmla="*/ 270246 h 298273"/>
                <a:gd name="connsiteX121" fmla="*/ 75460 w 674427"/>
                <a:gd name="connsiteY121" fmla="*/ 271197 h 298273"/>
                <a:gd name="connsiteX122" fmla="*/ 75460 w 674427"/>
                <a:gd name="connsiteY122" fmla="*/ 271197 h 298273"/>
                <a:gd name="connsiteX123" fmla="*/ 77363 w 674427"/>
                <a:gd name="connsiteY123" fmla="*/ 271197 h 298273"/>
                <a:gd name="connsiteX124" fmla="*/ 89738 w 674427"/>
                <a:gd name="connsiteY124" fmla="*/ 264536 h 298273"/>
                <a:gd name="connsiteX125" fmla="*/ 85930 w 674427"/>
                <a:gd name="connsiteY125" fmla="*/ 269294 h 298273"/>
                <a:gd name="connsiteX126" fmla="*/ 84979 w 674427"/>
                <a:gd name="connsiteY126" fmla="*/ 269294 h 298273"/>
                <a:gd name="connsiteX127" fmla="*/ 83075 w 674427"/>
                <a:gd name="connsiteY127" fmla="*/ 271197 h 298273"/>
                <a:gd name="connsiteX128" fmla="*/ 89738 w 674427"/>
                <a:gd name="connsiteY128" fmla="*/ 267391 h 298273"/>
                <a:gd name="connsiteX129" fmla="*/ 91642 w 674427"/>
                <a:gd name="connsiteY129" fmla="*/ 267391 h 298273"/>
                <a:gd name="connsiteX130" fmla="*/ 91642 w 674427"/>
                <a:gd name="connsiteY130" fmla="*/ 267391 h 298273"/>
                <a:gd name="connsiteX131" fmla="*/ 92594 w 674427"/>
                <a:gd name="connsiteY131" fmla="*/ 268343 h 298273"/>
                <a:gd name="connsiteX132" fmla="*/ 92594 w 674427"/>
                <a:gd name="connsiteY132" fmla="*/ 268343 h 298273"/>
                <a:gd name="connsiteX133" fmla="*/ 105920 w 674427"/>
                <a:gd name="connsiteY133" fmla="*/ 261681 h 298273"/>
                <a:gd name="connsiteX134" fmla="*/ 106872 w 674427"/>
                <a:gd name="connsiteY134" fmla="*/ 259778 h 298273"/>
                <a:gd name="connsiteX135" fmla="*/ 119247 w 674427"/>
                <a:gd name="connsiteY135" fmla="*/ 255972 h 298273"/>
                <a:gd name="connsiteX136" fmla="*/ 118295 w 674427"/>
                <a:gd name="connsiteY136" fmla="*/ 254069 h 298273"/>
                <a:gd name="connsiteX137" fmla="*/ 122103 w 674427"/>
                <a:gd name="connsiteY137" fmla="*/ 253117 h 298273"/>
                <a:gd name="connsiteX138" fmla="*/ 126862 w 674427"/>
                <a:gd name="connsiteY138" fmla="*/ 255972 h 298273"/>
                <a:gd name="connsiteX139" fmla="*/ 131622 w 674427"/>
                <a:gd name="connsiteY139" fmla="*/ 254069 h 298273"/>
                <a:gd name="connsiteX140" fmla="*/ 133525 w 674427"/>
                <a:gd name="connsiteY140" fmla="*/ 251214 h 298273"/>
                <a:gd name="connsiteX141" fmla="*/ 139237 w 674427"/>
                <a:gd name="connsiteY141" fmla="*/ 249311 h 298273"/>
                <a:gd name="connsiteX142" fmla="*/ 140189 w 674427"/>
                <a:gd name="connsiteY142" fmla="*/ 251214 h 298273"/>
                <a:gd name="connsiteX143" fmla="*/ 148756 w 674427"/>
                <a:gd name="connsiteY143" fmla="*/ 248360 h 298273"/>
                <a:gd name="connsiteX144" fmla="*/ 155419 w 674427"/>
                <a:gd name="connsiteY144" fmla="*/ 243602 h 298273"/>
                <a:gd name="connsiteX145" fmla="*/ 161131 w 674427"/>
                <a:gd name="connsiteY145" fmla="*/ 238844 h 298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674427" h="298273">
                  <a:moveTo>
                    <a:pt x="161131" y="238844"/>
                  </a:moveTo>
                  <a:lnTo>
                    <a:pt x="163986" y="237892"/>
                  </a:lnTo>
                  <a:cubicBezTo>
                    <a:pt x="155419" y="242650"/>
                    <a:pt x="145900" y="246456"/>
                    <a:pt x="136381" y="250263"/>
                  </a:cubicBezTo>
                  <a:cubicBezTo>
                    <a:pt x="158275" y="244553"/>
                    <a:pt x="183024" y="236941"/>
                    <a:pt x="194447" y="220764"/>
                  </a:cubicBezTo>
                  <a:cubicBezTo>
                    <a:pt x="198255" y="224570"/>
                    <a:pt x="218245" y="216958"/>
                    <a:pt x="218245" y="216006"/>
                  </a:cubicBezTo>
                  <a:cubicBezTo>
                    <a:pt x="222052" y="213152"/>
                    <a:pt x="225860" y="210297"/>
                    <a:pt x="229667" y="208394"/>
                  </a:cubicBezTo>
                  <a:cubicBezTo>
                    <a:pt x="226812" y="210297"/>
                    <a:pt x="224908" y="212200"/>
                    <a:pt x="222052" y="213152"/>
                  </a:cubicBezTo>
                  <a:cubicBezTo>
                    <a:pt x="224908" y="211248"/>
                    <a:pt x="227764" y="209345"/>
                    <a:pt x="229667" y="208394"/>
                  </a:cubicBezTo>
                  <a:cubicBezTo>
                    <a:pt x="254417" y="192217"/>
                    <a:pt x="282974" y="180798"/>
                    <a:pt x="313435" y="169379"/>
                  </a:cubicBezTo>
                  <a:cubicBezTo>
                    <a:pt x="329617" y="162718"/>
                    <a:pt x="374356" y="143687"/>
                    <a:pt x="392442" y="137978"/>
                  </a:cubicBezTo>
                  <a:lnTo>
                    <a:pt x="400057" y="135123"/>
                  </a:lnTo>
                  <a:cubicBezTo>
                    <a:pt x="396250" y="136074"/>
                    <a:pt x="396250" y="136074"/>
                    <a:pt x="391490" y="137978"/>
                  </a:cubicBezTo>
                  <a:cubicBezTo>
                    <a:pt x="401009" y="132268"/>
                    <a:pt x="409576" y="126559"/>
                    <a:pt x="418144" y="121801"/>
                  </a:cubicBezTo>
                  <a:cubicBezTo>
                    <a:pt x="416240" y="121801"/>
                    <a:pt x="415288" y="120849"/>
                    <a:pt x="411480" y="121801"/>
                  </a:cubicBezTo>
                  <a:lnTo>
                    <a:pt x="416240" y="119898"/>
                  </a:lnTo>
                  <a:cubicBezTo>
                    <a:pt x="419095" y="116092"/>
                    <a:pt x="429566" y="112285"/>
                    <a:pt x="433374" y="109430"/>
                  </a:cubicBezTo>
                  <a:cubicBezTo>
                    <a:pt x="432422" y="111334"/>
                    <a:pt x="436230" y="109430"/>
                    <a:pt x="440037" y="108479"/>
                  </a:cubicBezTo>
                  <a:lnTo>
                    <a:pt x="438133" y="108479"/>
                  </a:lnTo>
                  <a:cubicBezTo>
                    <a:pt x="450508" y="103721"/>
                    <a:pt x="463835" y="97060"/>
                    <a:pt x="474306" y="92302"/>
                  </a:cubicBezTo>
                  <a:cubicBezTo>
                    <a:pt x="476209" y="91351"/>
                    <a:pt x="477161" y="91351"/>
                    <a:pt x="478113" y="91351"/>
                  </a:cubicBezTo>
                  <a:lnTo>
                    <a:pt x="488584" y="86593"/>
                  </a:lnTo>
                  <a:cubicBezTo>
                    <a:pt x="488584" y="88496"/>
                    <a:pt x="498103" y="84690"/>
                    <a:pt x="493344" y="87544"/>
                  </a:cubicBezTo>
                  <a:cubicBezTo>
                    <a:pt x="500007" y="82787"/>
                    <a:pt x="508574" y="80883"/>
                    <a:pt x="515237" y="76126"/>
                  </a:cubicBezTo>
                  <a:cubicBezTo>
                    <a:pt x="528564" y="70416"/>
                    <a:pt x="541891" y="64707"/>
                    <a:pt x="555217" y="58997"/>
                  </a:cubicBezTo>
                  <a:cubicBezTo>
                    <a:pt x="568544" y="53288"/>
                    <a:pt x="582822" y="47578"/>
                    <a:pt x="596149" y="40917"/>
                  </a:cubicBezTo>
                  <a:lnTo>
                    <a:pt x="595197" y="40917"/>
                  </a:lnTo>
                  <a:cubicBezTo>
                    <a:pt x="604716" y="36160"/>
                    <a:pt x="612331" y="31402"/>
                    <a:pt x="624706" y="27596"/>
                  </a:cubicBezTo>
                  <a:cubicBezTo>
                    <a:pt x="632321" y="22838"/>
                    <a:pt x="644696" y="18080"/>
                    <a:pt x="646599" y="14274"/>
                  </a:cubicBezTo>
                  <a:cubicBezTo>
                    <a:pt x="656118" y="10467"/>
                    <a:pt x="659926" y="8564"/>
                    <a:pt x="669445" y="4758"/>
                  </a:cubicBezTo>
                  <a:cubicBezTo>
                    <a:pt x="666589" y="3806"/>
                    <a:pt x="678012" y="0"/>
                    <a:pt x="673253" y="0"/>
                  </a:cubicBezTo>
                  <a:cubicBezTo>
                    <a:pt x="666589" y="0"/>
                    <a:pt x="666589" y="1903"/>
                    <a:pt x="659926" y="1903"/>
                  </a:cubicBezTo>
                  <a:lnTo>
                    <a:pt x="659926" y="1903"/>
                  </a:lnTo>
                  <a:cubicBezTo>
                    <a:pt x="633273" y="7613"/>
                    <a:pt x="607572" y="15225"/>
                    <a:pt x="581870" y="23789"/>
                  </a:cubicBezTo>
                  <a:cubicBezTo>
                    <a:pt x="565688" y="31402"/>
                    <a:pt x="546650" y="37111"/>
                    <a:pt x="528564" y="44724"/>
                  </a:cubicBezTo>
                  <a:cubicBezTo>
                    <a:pt x="509526" y="52336"/>
                    <a:pt x="489536" y="61852"/>
                    <a:pt x="474306" y="69465"/>
                  </a:cubicBezTo>
                  <a:cubicBezTo>
                    <a:pt x="470498" y="71368"/>
                    <a:pt x="467642" y="71368"/>
                    <a:pt x="463835" y="72319"/>
                  </a:cubicBezTo>
                  <a:cubicBezTo>
                    <a:pt x="449556" y="78980"/>
                    <a:pt x="430518" y="86593"/>
                    <a:pt x="414336" y="94205"/>
                  </a:cubicBezTo>
                  <a:lnTo>
                    <a:pt x="415288" y="94205"/>
                  </a:lnTo>
                  <a:cubicBezTo>
                    <a:pt x="406721" y="98012"/>
                    <a:pt x="399106" y="99915"/>
                    <a:pt x="390538" y="103721"/>
                  </a:cubicBezTo>
                  <a:cubicBezTo>
                    <a:pt x="390538" y="103721"/>
                    <a:pt x="389587" y="104673"/>
                    <a:pt x="388635" y="105624"/>
                  </a:cubicBezTo>
                  <a:cubicBezTo>
                    <a:pt x="386731" y="104673"/>
                    <a:pt x="340088" y="132268"/>
                    <a:pt x="336280" y="132268"/>
                  </a:cubicBezTo>
                  <a:lnTo>
                    <a:pt x="333424" y="134171"/>
                  </a:lnTo>
                  <a:cubicBezTo>
                    <a:pt x="315338" y="141784"/>
                    <a:pt x="295348" y="146542"/>
                    <a:pt x="280118" y="154154"/>
                  </a:cubicBezTo>
                  <a:cubicBezTo>
                    <a:pt x="277262" y="157009"/>
                    <a:pt x="273455" y="158912"/>
                    <a:pt x="271551" y="161767"/>
                  </a:cubicBezTo>
                  <a:cubicBezTo>
                    <a:pt x="268695" y="161767"/>
                    <a:pt x="268695" y="163670"/>
                    <a:pt x="264888" y="165573"/>
                  </a:cubicBezTo>
                  <a:cubicBezTo>
                    <a:pt x="254417" y="165573"/>
                    <a:pt x="250609" y="169379"/>
                    <a:pt x="255369" y="169379"/>
                  </a:cubicBezTo>
                  <a:cubicBezTo>
                    <a:pt x="248705" y="173186"/>
                    <a:pt x="242042" y="176040"/>
                    <a:pt x="235379" y="178895"/>
                  </a:cubicBezTo>
                  <a:cubicBezTo>
                    <a:pt x="232523" y="180798"/>
                    <a:pt x="229667" y="181750"/>
                    <a:pt x="227764" y="183653"/>
                  </a:cubicBezTo>
                  <a:cubicBezTo>
                    <a:pt x="225860" y="185556"/>
                    <a:pt x="223956" y="185556"/>
                    <a:pt x="222052" y="184604"/>
                  </a:cubicBezTo>
                  <a:cubicBezTo>
                    <a:pt x="216341" y="188411"/>
                    <a:pt x="217293" y="186508"/>
                    <a:pt x="210629" y="189362"/>
                  </a:cubicBezTo>
                  <a:cubicBezTo>
                    <a:pt x="208726" y="188411"/>
                    <a:pt x="195399" y="198878"/>
                    <a:pt x="193495" y="199829"/>
                  </a:cubicBezTo>
                  <a:lnTo>
                    <a:pt x="194447" y="198878"/>
                  </a:lnTo>
                  <a:cubicBezTo>
                    <a:pt x="186832" y="202684"/>
                    <a:pt x="181120" y="201733"/>
                    <a:pt x="173505" y="205539"/>
                  </a:cubicBezTo>
                  <a:cubicBezTo>
                    <a:pt x="152563" y="214103"/>
                    <a:pt x="131622" y="225522"/>
                    <a:pt x="112584" y="235038"/>
                  </a:cubicBezTo>
                  <a:cubicBezTo>
                    <a:pt x="112584" y="235989"/>
                    <a:pt x="116391" y="233134"/>
                    <a:pt x="117343" y="234086"/>
                  </a:cubicBezTo>
                  <a:cubicBezTo>
                    <a:pt x="105920" y="238844"/>
                    <a:pt x="94498" y="242650"/>
                    <a:pt x="83075" y="248360"/>
                  </a:cubicBezTo>
                  <a:cubicBezTo>
                    <a:pt x="81171" y="249311"/>
                    <a:pt x="78315" y="249311"/>
                    <a:pt x="77363" y="249311"/>
                  </a:cubicBezTo>
                  <a:cubicBezTo>
                    <a:pt x="73556" y="250263"/>
                    <a:pt x="75460" y="251214"/>
                    <a:pt x="72604" y="252166"/>
                  </a:cubicBezTo>
                  <a:lnTo>
                    <a:pt x="71652" y="251214"/>
                  </a:lnTo>
                  <a:cubicBezTo>
                    <a:pt x="68796" y="254069"/>
                    <a:pt x="64989" y="252166"/>
                    <a:pt x="62133" y="255021"/>
                  </a:cubicBezTo>
                  <a:cubicBezTo>
                    <a:pt x="62133" y="255972"/>
                    <a:pt x="61181" y="255972"/>
                    <a:pt x="59277" y="256924"/>
                  </a:cubicBezTo>
                  <a:cubicBezTo>
                    <a:pt x="58325" y="255972"/>
                    <a:pt x="55470" y="258827"/>
                    <a:pt x="55470" y="257875"/>
                  </a:cubicBezTo>
                  <a:lnTo>
                    <a:pt x="55470" y="257875"/>
                  </a:lnTo>
                  <a:cubicBezTo>
                    <a:pt x="54518" y="257875"/>
                    <a:pt x="54518" y="258827"/>
                    <a:pt x="53566" y="258827"/>
                  </a:cubicBezTo>
                  <a:cubicBezTo>
                    <a:pt x="52614" y="259778"/>
                    <a:pt x="40239" y="270246"/>
                    <a:pt x="39287" y="271197"/>
                  </a:cubicBezTo>
                  <a:lnTo>
                    <a:pt x="38335" y="271197"/>
                  </a:lnTo>
                  <a:cubicBezTo>
                    <a:pt x="36432" y="272149"/>
                    <a:pt x="35480" y="274052"/>
                    <a:pt x="37384" y="273100"/>
                  </a:cubicBezTo>
                  <a:lnTo>
                    <a:pt x="34528" y="274052"/>
                  </a:lnTo>
                  <a:lnTo>
                    <a:pt x="34528" y="274052"/>
                  </a:lnTo>
                  <a:lnTo>
                    <a:pt x="31672" y="275004"/>
                  </a:lnTo>
                  <a:cubicBezTo>
                    <a:pt x="30720" y="275004"/>
                    <a:pt x="30720" y="275004"/>
                    <a:pt x="30720" y="274052"/>
                  </a:cubicBezTo>
                  <a:cubicBezTo>
                    <a:pt x="29768" y="275004"/>
                    <a:pt x="27865" y="275955"/>
                    <a:pt x="26913" y="276907"/>
                  </a:cubicBezTo>
                  <a:cubicBezTo>
                    <a:pt x="31672" y="275955"/>
                    <a:pt x="36432" y="274052"/>
                    <a:pt x="41191" y="274052"/>
                  </a:cubicBezTo>
                  <a:cubicBezTo>
                    <a:pt x="39287" y="275004"/>
                    <a:pt x="36432" y="275955"/>
                    <a:pt x="34528" y="276907"/>
                  </a:cubicBezTo>
                  <a:cubicBezTo>
                    <a:pt x="31672" y="276907"/>
                    <a:pt x="26913" y="278810"/>
                    <a:pt x="23105" y="279761"/>
                  </a:cubicBezTo>
                  <a:cubicBezTo>
                    <a:pt x="22153" y="279761"/>
                    <a:pt x="22153" y="281664"/>
                    <a:pt x="20249" y="281664"/>
                  </a:cubicBezTo>
                  <a:cubicBezTo>
                    <a:pt x="19297" y="280713"/>
                    <a:pt x="18346" y="282616"/>
                    <a:pt x="16442" y="282616"/>
                  </a:cubicBezTo>
                  <a:cubicBezTo>
                    <a:pt x="17394" y="281664"/>
                    <a:pt x="19297" y="280713"/>
                    <a:pt x="21201" y="279761"/>
                  </a:cubicBezTo>
                  <a:cubicBezTo>
                    <a:pt x="20249" y="278810"/>
                    <a:pt x="16442" y="280713"/>
                    <a:pt x="15490" y="281664"/>
                  </a:cubicBezTo>
                  <a:cubicBezTo>
                    <a:pt x="15490" y="282616"/>
                    <a:pt x="11682" y="283568"/>
                    <a:pt x="9778" y="284519"/>
                  </a:cubicBezTo>
                  <a:cubicBezTo>
                    <a:pt x="9778" y="282616"/>
                    <a:pt x="7875" y="284519"/>
                    <a:pt x="5971" y="284519"/>
                  </a:cubicBezTo>
                  <a:cubicBezTo>
                    <a:pt x="4067" y="285471"/>
                    <a:pt x="4067" y="285471"/>
                    <a:pt x="5019" y="286422"/>
                  </a:cubicBezTo>
                  <a:cubicBezTo>
                    <a:pt x="5019" y="288325"/>
                    <a:pt x="10730" y="284519"/>
                    <a:pt x="9778" y="286422"/>
                  </a:cubicBezTo>
                  <a:cubicBezTo>
                    <a:pt x="8827" y="286422"/>
                    <a:pt x="5971" y="287374"/>
                    <a:pt x="5019" y="288325"/>
                  </a:cubicBezTo>
                  <a:cubicBezTo>
                    <a:pt x="5019" y="289277"/>
                    <a:pt x="5971" y="288325"/>
                    <a:pt x="5971" y="289277"/>
                  </a:cubicBezTo>
                  <a:cubicBezTo>
                    <a:pt x="4067" y="290229"/>
                    <a:pt x="3115" y="291180"/>
                    <a:pt x="1211" y="291180"/>
                  </a:cubicBezTo>
                  <a:lnTo>
                    <a:pt x="2163" y="290229"/>
                  </a:lnTo>
                  <a:cubicBezTo>
                    <a:pt x="259" y="291180"/>
                    <a:pt x="11682" y="280713"/>
                    <a:pt x="8827" y="281664"/>
                  </a:cubicBezTo>
                  <a:cubicBezTo>
                    <a:pt x="9778" y="281664"/>
                    <a:pt x="-1644" y="291180"/>
                    <a:pt x="259" y="291180"/>
                  </a:cubicBezTo>
                  <a:cubicBezTo>
                    <a:pt x="2163" y="291180"/>
                    <a:pt x="259" y="293083"/>
                    <a:pt x="1211" y="292132"/>
                  </a:cubicBezTo>
                  <a:lnTo>
                    <a:pt x="2163" y="290229"/>
                  </a:lnTo>
                  <a:cubicBezTo>
                    <a:pt x="4067" y="289277"/>
                    <a:pt x="5019" y="290229"/>
                    <a:pt x="5019" y="291180"/>
                  </a:cubicBezTo>
                  <a:cubicBezTo>
                    <a:pt x="2163" y="292132"/>
                    <a:pt x="11682" y="282616"/>
                    <a:pt x="8827" y="284519"/>
                  </a:cubicBezTo>
                  <a:lnTo>
                    <a:pt x="9778" y="284519"/>
                  </a:lnTo>
                  <a:cubicBezTo>
                    <a:pt x="8827" y="285471"/>
                    <a:pt x="5971" y="287374"/>
                    <a:pt x="5019" y="287374"/>
                  </a:cubicBezTo>
                  <a:cubicBezTo>
                    <a:pt x="5019" y="288325"/>
                    <a:pt x="4067" y="289277"/>
                    <a:pt x="3115" y="290229"/>
                  </a:cubicBezTo>
                  <a:lnTo>
                    <a:pt x="2163" y="290229"/>
                  </a:lnTo>
                  <a:cubicBezTo>
                    <a:pt x="1211" y="291180"/>
                    <a:pt x="-692" y="292132"/>
                    <a:pt x="259" y="292132"/>
                  </a:cubicBezTo>
                  <a:cubicBezTo>
                    <a:pt x="7875" y="288325"/>
                    <a:pt x="-1644" y="300696"/>
                    <a:pt x="5971" y="297841"/>
                  </a:cubicBezTo>
                  <a:cubicBezTo>
                    <a:pt x="2163" y="297841"/>
                    <a:pt x="5971" y="295938"/>
                    <a:pt x="9778" y="294035"/>
                  </a:cubicBezTo>
                  <a:cubicBezTo>
                    <a:pt x="10730" y="294035"/>
                    <a:pt x="11682" y="294035"/>
                    <a:pt x="14538" y="294035"/>
                  </a:cubicBezTo>
                  <a:cubicBezTo>
                    <a:pt x="16442" y="293083"/>
                    <a:pt x="15490" y="293083"/>
                    <a:pt x="15490" y="292132"/>
                  </a:cubicBezTo>
                  <a:cubicBezTo>
                    <a:pt x="16442" y="292132"/>
                    <a:pt x="19297" y="291180"/>
                    <a:pt x="19297" y="292132"/>
                  </a:cubicBezTo>
                  <a:cubicBezTo>
                    <a:pt x="20249" y="290229"/>
                    <a:pt x="22153" y="291180"/>
                    <a:pt x="24057" y="290229"/>
                  </a:cubicBezTo>
                  <a:cubicBezTo>
                    <a:pt x="25961" y="289277"/>
                    <a:pt x="24057" y="290229"/>
                    <a:pt x="25009" y="289277"/>
                  </a:cubicBezTo>
                  <a:cubicBezTo>
                    <a:pt x="27865" y="288325"/>
                    <a:pt x="30720" y="286422"/>
                    <a:pt x="32624" y="285471"/>
                  </a:cubicBezTo>
                  <a:cubicBezTo>
                    <a:pt x="33576" y="285471"/>
                    <a:pt x="36432" y="285471"/>
                    <a:pt x="35480" y="288325"/>
                  </a:cubicBezTo>
                  <a:cubicBezTo>
                    <a:pt x="31672" y="290229"/>
                    <a:pt x="36432" y="285471"/>
                    <a:pt x="32624" y="288325"/>
                  </a:cubicBezTo>
                  <a:cubicBezTo>
                    <a:pt x="35480" y="289277"/>
                    <a:pt x="29768" y="290229"/>
                    <a:pt x="29768" y="292132"/>
                  </a:cubicBezTo>
                  <a:cubicBezTo>
                    <a:pt x="31672" y="292132"/>
                    <a:pt x="33576" y="291180"/>
                    <a:pt x="35480" y="290229"/>
                  </a:cubicBezTo>
                  <a:lnTo>
                    <a:pt x="34528" y="290229"/>
                  </a:lnTo>
                  <a:cubicBezTo>
                    <a:pt x="36432" y="289277"/>
                    <a:pt x="40239" y="287374"/>
                    <a:pt x="42143" y="286422"/>
                  </a:cubicBezTo>
                  <a:cubicBezTo>
                    <a:pt x="42143" y="287374"/>
                    <a:pt x="43095" y="287374"/>
                    <a:pt x="42143" y="288325"/>
                  </a:cubicBezTo>
                  <a:lnTo>
                    <a:pt x="44999" y="287374"/>
                  </a:lnTo>
                  <a:cubicBezTo>
                    <a:pt x="44999" y="287374"/>
                    <a:pt x="44999" y="286422"/>
                    <a:pt x="44999" y="287374"/>
                  </a:cubicBezTo>
                  <a:cubicBezTo>
                    <a:pt x="45951" y="286422"/>
                    <a:pt x="46903" y="286422"/>
                    <a:pt x="48806" y="285471"/>
                  </a:cubicBezTo>
                  <a:cubicBezTo>
                    <a:pt x="49758" y="285471"/>
                    <a:pt x="61181" y="275955"/>
                    <a:pt x="61181" y="276907"/>
                  </a:cubicBezTo>
                  <a:cubicBezTo>
                    <a:pt x="63085" y="275955"/>
                    <a:pt x="64037" y="276907"/>
                    <a:pt x="64989" y="275004"/>
                  </a:cubicBezTo>
                  <a:cubicBezTo>
                    <a:pt x="64989" y="274052"/>
                    <a:pt x="48806" y="285471"/>
                    <a:pt x="50710" y="284519"/>
                  </a:cubicBezTo>
                  <a:cubicBezTo>
                    <a:pt x="52614" y="284519"/>
                    <a:pt x="69748" y="271197"/>
                    <a:pt x="71652" y="272149"/>
                  </a:cubicBezTo>
                  <a:cubicBezTo>
                    <a:pt x="72604" y="271197"/>
                    <a:pt x="74508" y="270246"/>
                    <a:pt x="73556" y="270246"/>
                  </a:cubicBezTo>
                  <a:cubicBezTo>
                    <a:pt x="76411" y="269294"/>
                    <a:pt x="73556" y="272149"/>
                    <a:pt x="75460" y="271197"/>
                  </a:cubicBezTo>
                  <a:lnTo>
                    <a:pt x="75460" y="271197"/>
                  </a:lnTo>
                  <a:lnTo>
                    <a:pt x="77363" y="271197"/>
                  </a:lnTo>
                  <a:cubicBezTo>
                    <a:pt x="80219" y="268343"/>
                    <a:pt x="85930" y="267391"/>
                    <a:pt x="89738" y="264536"/>
                  </a:cubicBezTo>
                  <a:cubicBezTo>
                    <a:pt x="88786" y="265488"/>
                    <a:pt x="88786" y="267391"/>
                    <a:pt x="85930" y="269294"/>
                  </a:cubicBezTo>
                  <a:lnTo>
                    <a:pt x="84979" y="269294"/>
                  </a:lnTo>
                  <a:lnTo>
                    <a:pt x="83075" y="271197"/>
                  </a:lnTo>
                  <a:cubicBezTo>
                    <a:pt x="85930" y="270246"/>
                    <a:pt x="87834" y="269294"/>
                    <a:pt x="89738" y="267391"/>
                  </a:cubicBezTo>
                  <a:cubicBezTo>
                    <a:pt x="90690" y="267391"/>
                    <a:pt x="90690" y="267391"/>
                    <a:pt x="91642" y="267391"/>
                  </a:cubicBezTo>
                  <a:lnTo>
                    <a:pt x="91642" y="267391"/>
                  </a:lnTo>
                  <a:cubicBezTo>
                    <a:pt x="92594" y="267391"/>
                    <a:pt x="92594" y="267391"/>
                    <a:pt x="92594" y="268343"/>
                  </a:cubicBezTo>
                  <a:lnTo>
                    <a:pt x="92594" y="268343"/>
                  </a:lnTo>
                  <a:cubicBezTo>
                    <a:pt x="94498" y="269294"/>
                    <a:pt x="101161" y="262633"/>
                    <a:pt x="105920" y="261681"/>
                  </a:cubicBezTo>
                  <a:cubicBezTo>
                    <a:pt x="106872" y="260730"/>
                    <a:pt x="105920" y="261681"/>
                    <a:pt x="106872" y="259778"/>
                  </a:cubicBezTo>
                  <a:cubicBezTo>
                    <a:pt x="111632" y="258827"/>
                    <a:pt x="114487" y="257875"/>
                    <a:pt x="119247" y="255972"/>
                  </a:cubicBezTo>
                  <a:cubicBezTo>
                    <a:pt x="120199" y="254069"/>
                    <a:pt x="120199" y="254069"/>
                    <a:pt x="118295" y="254069"/>
                  </a:cubicBezTo>
                  <a:lnTo>
                    <a:pt x="122103" y="253117"/>
                  </a:lnTo>
                  <a:cubicBezTo>
                    <a:pt x="120199" y="256924"/>
                    <a:pt x="129718" y="252166"/>
                    <a:pt x="126862" y="255972"/>
                  </a:cubicBezTo>
                  <a:cubicBezTo>
                    <a:pt x="127814" y="255972"/>
                    <a:pt x="129718" y="255021"/>
                    <a:pt x="131622" y="254069"/>
                  </a:cubicBezTo>
                  <a:cubicBezTo>
                    <a:pt x="131622" y="253117"/>
                    <a:pt x="131622" y="252166"/>
                    <a:pt x="133525" y="251214"/>
                  </a:cubicBezTo>
                  <a:cubicBezTo>
                    <a:pt x="137333" y="250263"/>
                    <a:pt x="136381" y="250263"/>
                    <a:pt x="139237" y="249311"/>
                  </a:cubicBezTo>
                  <a:cubicBezTo>
                    <a:pt x="140189" y="249311"/>
                    <a:pt x="139237" y="250263"/>
                    <a:pt x="140189" y="251214"/>
                  </a:cubicBezTo>
                  <a:cubicBezTo>
                    <a:pt x="143996" y="248360"/>
                    <a:pt x="144948" y="251214"/>
                    <a:pt x="148756" y="248360"/>
                  </a:cubicBezTo>
                  <a:cubicBezTo>
                    <a:pt x="151612" y="247408"/>
                    <a:pt x="156371" y="244553"/>
                    <a:pt x="155419" y="243602"/>
                  </a:cubicBezTo>
                  <a:cubicBezTo>
                    <a:pt x="161131" y="236941"/>
                    <a:pt x="161131" y="237892"/>
                    <a:pt x="161131" y="238844"/>
                  </a:cubicBezTo>
                  <a:close/>
                </a:path>
              </a:pathLst>
            </a:custGeom>
            <a:solidFill>
              <a:srgbClr val="144573"/>
            </a:solidFill>
            <a:ln w="95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 sz="1800"/>
            </a:p>
          </p:txBody>
        </p:sp>
        <p:sp>
          <p:nvSpPr>
            <p:cNvPr id="12" name="Kombinationstegning 11">
              <a:extLst>
                <a:ext uri="{FF2B5EF4-FFF2-40B4-BE49-F238E27FC236}">
                  <a16:creationId xmlns:a16="http://schemas.microsoft.com/office/drawing/2014/main" id="{82041656-5DF5-7545-B85B-7EC994BC2117}"/>
                </a:ext>
              </a:extLst>
            </p:cNvPr>
            <p:cNvSpPr/>
            <p:nvPr/>
          </p:nvSpPr>
          <p:spPr>
            <a:xfrm>
              <a:off x="4230253" y="1614978"/>
              <a:ext cx="327509" cy="227766"/>
            </a:xfrm>
            <a:custGeom>
              <a:avLst/>
              <a:gdLst>
                <a:gd name="connsiteX0" fmla="*/ 139034 w 327509"/>
                <a:gd name="connsiteY0" fmla="*/ 58997 h 227766"/>
                <a:gd name="connsiteX1" fmla="*/ 141889 w 327509"/>
                <a:gd name="connsiteY1" fmla="*/ 58997 h 227766"/>
                <a:gd name="connsiteX2" fmla="*/ 116188 w 327509"/>
                <a:gd name="connsiteY2" fmla="*/ 61852 h 227766"/>
                <a:gd name="connsiteX3" fmla="*/ 170446 w 327509"/>
                <a:gd name="connsiteY3" fmla="*/ 51385 h 227766"/>
                <a:gd name="connsiteX4" fmla="*/ 191388 w 327509"/>
                <a:gd name="connsiteY4" fmla="*/ 54239 h 227766"/>
                <a:gd name="connsiteX5" fmla="*/ 201859 w 327509"/>
                <a:gd name="connsiteY5" fmla="*/ 50433 h 227766"/>
                <a:gd name="connsiteX6" fmla="*/ 194244 w 327509"/>
                <a:gd name="connsiteY6" fmla="*/ 53288 h 227766"/>
                <a:gd name="connsiteX7" fmla="*/ 201859 w 327509"/>
                <a:gd name="connsiteY7" fmla="*/ 50433 h 227766"/>
                <a:gd name="connsiteX8" fmla="*/ 210426 w 327509"/>
                <a:gd name="connsiteY8" fmla="*/ 47578 h 227766"/>
                <a:gd name="connsiteX9" fmla="*/ 218041 w 327509"/>
                <a:gd name="connsiteY9" fmla="*/ 45675 h 227766"/>
                <a:gd name="connsiteX10" fmla="*/ 224705 w 327509"/>
                <a:gd name="connsiteY10" fmla="*/ 43772 h 227766"/>
                <a:gd name="connsiteX11" fmla="*/ 231368 w 327509"/>
                <a:gd name="connsiteY11" fmla="*/ 44724 h 227766"/>
                <a:gd name="connsiteX12" fmla="*/ 231368 w 327509"/>
                <a:gd name="connsiteY12" fmla="*/ 44724 h 227766"/>
                <a:gd name="connsiteX13" fmla="*/ 230416 w 327509"/>
                <a:gd name="connsiteY13" fmla="*/ 45675 h 227766"/>
                <a:gd name="connsiteX14" fmla="*/ 225657 w 327509"/>
                <a:gd name="connsiteY14" fmla="*/ 48530 h 227766"/>
                <a:gd name="connsiteX15" fmla="*/ 219945 w 327509"/>
                <a:gd name="connsiteY15" fmla="*/ 51385 h 227766"/>
                <a:gd name="connsiteX16" fmla="*/ 218993 w 327509"/>
                <a:gd name="connsiteY16" fmla="*/ 51385 h 227766"/>
                <a:gd name="connsiteX17" fmla="*/ 219945 w 327509"/>
                <a:gd name="connsiteY17" fmla="*/ 51385 h 227766"/>
                <a:gd name="connsiteX18" fmla="*/ 220897 w 327509"/>
                <a:gd name="connsiteY18" fmla="*/ 53288 h 227766"/>
                <a:gd name="connsiteX19" fmla="*/ 220897 w 327509"/>
                <a:gd name="connsiteY19" fmla="*/ 53288 h 227766"/>
                <a:gd name="connsiteX20" fmla="*/ 219945 w 327509"/>
                <a:gd name="connsiteY20" fmla="*/ 54239 h 227766"/>
                <a:gd name="connsiteX21" fmla="*/ 218041 w 327509"/>
                <a:gd name="connsiteY21" fmla="*/ 56143 h 227766"/>
                <a:gd name="connsiteX22" fmla="*/ 213282 w 327509"/>
                <a:gd name="connsiteY22" fmla="*/ 60900 h 227766"/>
                <a:gd name="connsiteX23" fmla="*/ 218993 w 327509"/>
                <a:gd name="connsiteY23" fmla="*/ 59949 h 227766"/>
                <a:gd name="connsiteX24" fmla="*/ 215186 w 327509"/>
                <a:gd name="connsiteY24" fmla="*/ 61852 h 227766"/>
                <a:gd name="connsiteX25" fmla="*/ 203763 w 327509"/>
                <a:gd name="connsiteY25" fmla="*/ 75174 h 227766"/>
                <a:gd name="connsiteX26" fmla="*/ 199003 w 327509"/>
                <a:gd name="connsiteY26" fmla="*/ 77077 h 227766"/>
                <a:gd name="connsiteX27" fmla="*/ 199955 w 327509"/>
                <a:gd name="connsiteY27" fmla="*/ 77077 h 227766"/>
                <a:gd name="connsiteX28" fmla="*/ 174254 w 327509"/>
                <a:gd name="connsiteY28" fmla="*/ 98011 h 227766"/>
                <a:gd name="connsiteX29" fmla="*/ 171398 w 327509"/>
                <a:gd name="connsiteY29" fmla="*/ 98963 h 227766"/>
                <a:gd name="connsiteX30" fmla="*/ 164735 w 327509"/>
                <a:gd name="connsiteY30" fmla="*/ 105624 h 227766"/>
                <a:gd name="connsiteX31" fmla="*/ 160927 w 327509"/>
                <a:gd name="connsiteY31" fmla="*/ 105624 h 227766"/>
                <a:gd name="connsiteX32" fmla="*/ 146649 w 327509"/>
                <a:gd name="connsiteY32" fmla="*/ 120849 h 227766"/>
                <a:gd name="connsiteX33" fmla="*/ 91439 w 327509"/>
                <a:gd name="connsiteY33" fmla="*/ 170331 h 227766"/>
                <a:gd name="connsiteX34" fmla="*/ 92391 w 327509"/>
                <a:gd name="connsiteY34" fmla="*/ 170331 h 227766"/>
                <a:gd name="connsiteX35" fmla="*/ 73353 w 327509"/>
                <a:gd name="connsiteY35" fmla="*/ 189362 h 227766"/>
                <a:gd name="connsiteX36" fmla="*/ 60978 w 327509"/>
                <a:gd name="connsiteY36" fmla="*/ 207442 h 227766"/>
                <a:gd name="connsiteX37" fmla="*/ 46699 w 327509"/>
                <a:gd name="connsiteY37" fmla="*/ 222667 h 227766"/>
                <a:gd name="connsiteX38" fmla="*/ 45747 w 327509"/>
                <a:gd name="connsiteY38" fmla="*/ 227425 h 227766"/>
                <a:gd name="connsiteX39" fmla="*/ 55266 w 327509"/>
                <a:gd name="connsiteY39" fmla="*/ 221715 h 227766"/>
                <a:gd name="connsiteX40" fmla="*/ 55266 w 327509"/>
                <a:gd name="connsiteY40" fmla="*/ 221715 h 227766"/>
                <a:gd name="connsiteX41" fmla="*/ 110477 w 327509"/>
                <a:gd name="connsiteY41" fmla="*/ 182701 h 227766"/>
                <a:gd name="connsiteX42" fmla="*/ 146649 w 327509"/>
                <a:gd name="connsiteY42" fmla="*/ 152251 h 227766"/>
                <a:gd name="connsiteX43" fmla="*/ 183773 w 327509"/>
                <a:gd name="connsiteY43" fmla="*/ 118946 h 227766"/>
                <a:gd name="connsiteX44" fmla="*/ 191388 w 327509"/>
                <a:gd name="connsiteY44" fmla="*/ 114188 h 227766"/>
                <a:gd name="connsiteX45" fmla="*/ 226608 w 327509"/>
                <a:gd name="connsiteY45" fmla="*/ 84690 h 227766"/>
                <a:gd name="connsiteX46" fmla="*/ 225657 w 327509"/>
                <a:gd name="connsiteY46" fmla="*/ 84690 h 227766"/>
                <a:gd name="connsiteX47" fmla="*/ 234224 w 327509"/>
                <a:gd name="connsiteY47" fmla="*/ 78029 h 227766"/>
                <a:gd name="connsiteX48" fmla="*/ 238983 w 327509"/>
                <a:gd name="connsiteY48" fmla="*/ 75174 h 227766"/>
                <a:gd name="connsiteX49" fmla="*/ 240887 w 327509"/>
                <a:gd name="connsiteY49" fmla="*/ 73271 h 227766"/>
                <a:gd name="connsiteX50" fmla="*/ 244695 w 327509"/>
                <a:gd name="connsiteY50" fmla="*/ 70416 h 227766"/>
                <a:gd name="connsiteX51" fmla="*/ 246598 w 327509"/>
                <a:gd name="connsiteY51" fmla="*/ 68513 h 227766"/>
                <a:gd name="connsiteX52" fmla="*/ 275155 w 327509"/>
                <a:gd name="connsiteY52" fmla="*/ 43772 h 227766"/>
                <a:gd name="connsiteX53" fmla="*/ 300857 w 327509"/>
                <a:gd name="connsiteY53" fmla="*/ 20934 h 227766"/>
                <a:gd name="connsiteX54" fmla="*/ 302760 w 327509"/>
                <a:gd name="connsiteY54" fmla="*/ 19031 h 227766"/>
                <a:gd name="connsiteX55" fmla="*/ 320847 w 327509"/>
                <a:gd name="connsiteY55" fmla="*/ 5709 h 227766"/>
                <a:gd name="connsiteX56" fmla="*/ 325606 w 327509"/>
                <a:gd name="connsiteY56" fmla="*/ 1903 h 227766"/>
                <a:gd name="connsiteX57" fmla="*/ 326558 w 327509"/>
                <a:gd name="connsiteY57" fmla="*/ 951 h 227766"/>
                <a:gd name="connsiteX58" fmla="*/ 327510 w 327509"/>
                <a:gd name="connsiteY58" fmla="*/ 0 h 227766"/>
                <a:gd name="connsiteX59" fmla="*/ 325606 w 327509"/>
                <a:gd name="connsiteY59" fmla="*/ 0 h 227766"/>
                <a:gd name="connsiteX60" fmla="*/ 318943 w 327509"/>
                <a:gd name="connsiteY60" fmla="*/ 0 h 227766"/>
                <a:gd name="connsiteX61" fmla="*/ 285626 w 327509"/>
                <a:gd name="connsiteY61" fmla="*/ 3806 h 227766"/>
                <a:gd name="connsiteX62" fmla="*/ 265636 w 327509"/>
                <a:gd name="connsiteY62" fmla="*/ 10467 h 227766"/>
                <a:gd name="connsiteX63" fmla="*/ 255165 w 327509"/>
                <a:gd name="connsiteY63" fmla="*/ 13322 h 227766"/>
                <a:gd name="connsiteX64" fmla="*/ 244695 w 327509"/>
                <a:gd name="connsiteY64" fmla="*/ 12370 h 227766"/>
                <a:gd name="connsiteX65" fmla="*/ 243743 w 327509"/>
                <a:gd name="connsiteY65" fmla="*/ 14274 h 227766"/>
                <a:gd name="connsiteX66" fmla="*/ 216138 w 327509"/>
                <a:gd name="connsiteY66" fmla="*/ 19983 h 227766"/>
                <a:gd name="connsiteX67" fmla="*/ 213282 w 327509"/>
                <a:gd name="connsiteY67" fmla="*/ 20934 h 227766"/>
                <a:gd name="connsiteX68" fmla="*/ 211378 w 327509"/>
                <a:gd name="connsiteY68" fmla="*/ 21886 h 227766"/>
                <a:gd name="connsiteX69" fmla="*/ 207570 w 327509"/>
                <a:gd name="connsiteY69" fmla="*/ 22838 h 227766"/>
                <a:gd name="connsiteX70" fmla="*/ 202811 w 327509"/>
                <a:gd name="connsiteY70" fmla="*/ 22838 h 227766"/>
                <a:gd name="connsiteX71" fmla="*/ 192340 w 327509"/>
                <a:gd name="connsiteY71" fmla="*/ 23789 h 227766"/>
                <a:gd name="connsiteX72" fmla="*/ 176158 w 327509"/>
                <a:gd name="connsiteY72" fmla="*/ 28547 h 227766"/>
                <a:gd name="connsiteX73" fmla="*/ 177110 w 327509"/>
                <a:gd name="connsiteY73" fmla="*/ 28547 h 227766"/>
                <a:gd name="connsiteX74" fmla="*/ 159024 w 327509"/>
                <a:gd name="connsiteY74" fmla="*/ 28547 h 227766"/>
                <a:gd name="connsiteX75" fmla="*/ 102861 w 327509"/>
                <a:gd name="connsiteY75" fmla="*/ 37111 h 227766"/>
                <a:gd name="connsiteX76" fmla="*/ 106669 w 327509"/>
                <a:gd name="connsiteY76" fmla="*/ 38063 h 227766"/>
                <a:gd name="connsiteX77" fmla="*/ 76208 w 327509"/>
                <a:gd name="connsiteY77" fmla="*/ 39966 h 227766"/>
                <a:gd name="connsiteX78" fmla="*/ 71449 w 327509"/>
                <a:gd name="connsiteY78" fmla="*/ 39014 h 227766"/>
                <a:gd name="connsiteX79" fmla="*/ 67641 w 327509"/>
                <a:gd name="connsiteY79" fmla="*/ 39966 h 227766"/>
                <a:gd name="connsiteX80" fmla="*/ 66689 w 327509"/>
                <a:gd name="connsiteY80" fmla="*/ 39014 h 227766"/>
                <a:gd name="connsiteX81" fmla="*/ 58122 w 327509"/>
                <a:gd name="connsiteY81" fmla="*/ 39014 h 227766"/>
                <a:gd name="connsiteX82" fmla="*/ 55266 w 327509"/>
                <a:gd name="connsiteY82" fmla="*/ 39966 h 227766"/>
                <a:gd name="connsiteX83" fmla="*/ 51459 w 327509"/>
                <a:gd name="connsiteY83" fmla="*/ 39014 h 227766"/>
                <a:gd name="connsiteX84" fmla="*/ 51459 w 327509"/>
                <a:gd name="connsiteY84" fmla="*/ 39014 h 227766"/>
                <a:gd name="connsiteX85" fmla="*/ 49555 w 327509"/>
                <a:gd name="connsiteY85" fmla="*/ 39014 h 227766"/>
                <a:gd name="connsiteX86" fmla="*/ 35277 w 327509"/>
                <a:gd name="connsiteY86" fmla="*/ 45675 h 227766"/>
                <a:gd name="connsiteX87" fmla="*/ 34325 w 327509"/>
                <a:gd name="connsiteY87" fmla="*/ 45675 h 227766"/>
                <a:gd name="connsiteX88" fmla="*/ 32421 w 327509"/>
                <a:gd name="connsiteY88" fmla="*/ 47578 h 227766"/>
                <a:gd name="connsiteX89" fmla="*/ 30517 w 327509"/>
                <a:gd name="connsiteY89" fmla="*/ 47578 h 227766"/>
                <a:gd name="connsiteX90" fmla="*/ 30517 w 327509"/>
                <a:gd name="connsiteY90" fmla="*/ 47578 h 227766"/>
                <a:gd name="connsiteX91" fmla="*/ 28613 w 327509"/>
                <a:gd name="connsiteY91" fmla="*/ 47578 h 227766"/>
                <a:gd name="connsiteX92" fmla="*/ 28613 w 327509"/>
                <a:gd name="connsiteY92" fmla="*/ 46627 h 227766"/>
                <a:gd name="connsiteX93" fmla="*/ 24806 w 327509"/>
                <a:gd name="connsiteY93" fmla="*/ 47578 h 227766"/>
                <a:gd name="connsiteX94" fmla="*/ 37180 w 327509"/>
                <a:gd name="connsiteY94" fmla="*/ 49482 h 227766"/>
                <a:gd name="connsiteX95" fmla="*/ 31469 w 327509"/>
                <a:gd name="connsiteY95" fmla="*/ 50433 h 227766"/>
                <a:gd name="connsiteX96" fmla="*/ 21950 w 327509"/>
                <a:gd name="connsiteY96" fmla="*/ 49482 h 227766"/>
                <a:gd name="connsiteX97" fmla="*/ 19094 w 327509"/>
                <a:gd name="connsiteY97" fmla="*/ 50433 h 227766"/>
                <a:gd name="connsiteX98" fmla="*/ 16239 w 327509"/>
                <a:gd name="connsiteY98" fmla="*/ 50433 h 227766"/>
                <a:gd name="connsiteX99" fmla="*/ 20998 w 327509"/>
                <a:gd name="connsiteY99" fmla="*/ 49482 h 227766"/>
                <a:gd name="connsiteX100" fmla="*/ 16239 w 327509"/>
                <a:gd name="connsiteY100" fmla="*/ 48530 h 227766"/>
                <a:gd name="connsiteX101" fmla="*/ 10527 w 327509"/>
                <a:gd name="connsiteY101" fmla="*/ 49482 h 227766"/>
                <a:gd name="connsiteX102" fmla="*/ 7672 w 327509"/>
                <a:gd name="connsiteY102" fmla="*/ 48530 h 227766"/>
                <a:gd name="connsiteX103" fmla="*/ 5768 w 327509"/>
                <a:gd name="connsiteY103" fmla="*/ 49482 h 227766"/>
                <a:gd name="connsiteX104" fmla="*/ 9575 w 327509"/>
                <a:gd name="connsiteY104" fmla="*/ 51385 h 227766"/>
                <a:gd name="connsiteX105" fmla="*/ 4816 w 327509"/>
                <a:gd name="connsiteY105" fmla="*/ 51385 h 227766"/>
                <a:gd name="connsiteX106" fmla="*/ 4816 w 327509"/>
                <a:gd name="connsiteY106" fmla="*/ 52336 h 227766"/>
                <a:gd name="connsiteX107" fmla="*/ 1008 w 327509"/>
                <a:gd name="connsiteY107" fmla="*/ 52336 h 227766"/>
                <a:gd name="connsiteX108" fmla="*/ 1960 w 327509"/>
                <a:gd name="connsiteY108" fmla="*/ 52336 h 227766"/>
                <a:gd name="connsiteX109" fmla="*/ 9575 w 327509"/>
                <a:gd name="connsiteY109" fmla="*/ 47578 h 227766"/>
                <a:gd name="connsiteX110" fmla="*/ 56 w 327509"/>
                <a:gd name="connsiteY110" fmla="*/ 52336 h 227766"/>
                <a:gd name="connsiteX111" fmla="*/ 1008 w 327509"/>
                <a:gd name="connsiteY111" fmla="*/ 54239 h 227766"/>
                <a:gd name="connsiteX112" fmla="*/ 1960 w 327509"/>
                <a:gd name="connsiteY112" fmla="*/ 53288 h 227766"/>
                <a:gd name="connsiteX113" fmla="*/ 3864 w 327509"/>
                <a:gd name="connsiteY113" fmla="*/ 55191 h 227766"/>
                <a:gd name="connsiteX114" fmla="*/ 9575 w 327509"/>
                <a:gd name="connsiteY114" fmla="*/ 50433 h 227766"/>
                <a:gd name="connsiteX115" fmla="*/ 10527 w 327509"/>
                <a:gd name="connsiteY115" fmla="*/ 50433 h 227766"/>
                <a:gd name="connsiteX116" fmla="*/ 5768 w 327509"/>
                <a:gd name="connsiteY116" fmla="*/ 51385 h 227766"/>
                <a:gd name="connsiteX117" fmla="*/ 2912 w 327509"/>
                <a:gd name="connsiteY117" fmla="*/ 53288 h 227766"/>
                <a:gd name="connsiteX118" fmla="*/ 2912 w 327509"/>
                <a:gd name="connsiteY118" fmla="*/ 53288 h 227766"/>
                <a:gd name="connsiteX119" fmla="*/ 1008 w 327509"/>
                <a:gd name="connsiteY119" fmla="*/ 54239 h 227766"/>
                <a:gd name="connsiteX120" fmla="*/ 3864 w 327509"/>
                <a:gd name="connsiteY120" fmla="*/ 61852 h 227766"/>
                <a:gd name="connsiteX121" fmla="*/ 7672 w 327509"/>
                <a:gd name="connsiteY121" fmla="*/ 59949 h 227766"/>
                <a:gd name="connsiteX122" fmla="*/ 11479 w 327509"/>
                <a:gd name="connsiteY122" fmla="*/ 61852 h 227766"/>
                <a:gd name="connsiteX123" fmla="*/ 12431 w 327509"/>
                <a:gd name="connsiteY123" fmla="*/ 60900 h 227766"/>
                <a:gd name="connsiteX124" fmla="*/ 15287 w 327509"/>
                <a:gd name="connsiteY124" fmla="*/ 61852 h 227766"/>
                <a:gd name="connsiteX125" fmla="*/ 19094 w 327509"/>
                <a:gd name="connsiteY125" fmla="*/ 61852 h 227766"/>
                <a:gd name="connsiteX126" fmla="*/ 20046 w 327509"/>
                <a:gd name="connsiteY126" fmla="*/ 60900 h 227766"/>
                <a:gd name="connsiteX127" fmla="*/ 27661 w 327509"/>
                <a:gd name="connsiteY127" fmla="*/ 60900 h 227766"/>
                <a:gd name="connsiteX128" fmla="*/ 29565 w 327509"/>
                <a:gd name="connsiteY128" fmla="*/ 63755 h 227766"/>
                <a:gd name="connsiteX129" fmla="*/ 26709 w 327509"/>
                <a:gd name="connsiteY129" fmla="*/ 61852 h 227766"/>
                <a:gd name="connsiteX130" fmla="*/ 22902 w 327509"/>
                <a:gd name="connsiteY130" fmla="*/ 63755 h 227766"/>
                <a:gd name="connsiteX131" fmla="*/ 28613 w 327509"/>
                <a:gd name="connsiteY131" fmla="*/ 63755 h 227766"/>
                <a:gd name="connsiteX132" fmla="*/ 28613 w 327509"/>
                <a:gd name="connsiteY132" fmla="*/ 63755 h 227766"/>
                <a:gd name="connsiteX133" fmla="*/ 35277 w 327509"/>
                <a:gd name="connsiteY133" fmla="*/ 63755 h 227766"/>
                <a:gd name="connsiteX134" fmla="*/ 34325 w 327509"/>
                <a:gd name="connsiteY134" fmla="*/ 64707 h 227766"/>
                <a:gd name="connsiteX135" fmla="*/ 37180 w 327509"/>
                <a:gd name="connsiteY135" fmla="*/ 64707 h 227766"/>
                <a:gd name="connsiteX136" fmla="*/ 37180 w 327509"/>
                <a:gd name="connsiteY136" fmla="*/ 63755 h 227766"/>
                <a:gd name="connsiteX137" fmla="*/ 40036 w 327509"/>
                <a:gd name="connsiteY137" fmla="*/ 63755 h 227766"/>
                <a:gd name="connsiteX138" fmla="*/ 52411 w 327509"/>
                <a:gd name="connsiteY138" fmla="*/ 59949 h 227766"/>
                <a:gd name="connsiteX139" fmla="*/ 56218 w 327509"/>
                <a:gd name="connsiteY139" fmla="*/ 59949 h 227766"/>
                <a:gd name="connsiteX140" fmla="*/ 42892 w 327509"/>
                <a:gd name="connsiteY140" fmla="*/ 63755 h 227766"/>
                <a:gd name="connsiteX141" fmla="*/ 62882 w 327509"/>
                <a:gd name="connsiteY141" fmla="*/ 58997 h 227766"/>
                <a:gd name="connsiteX142" fmla="*/ 64785 w 327509"/>
                <a:gd name="connsiteY142" fmla="*/ 58046 h 227766"/>
                <a:gd name="connsiteX143" fmla="*/ 65737 w 327509"/>
                <a:gd name="connsiteY143" fmla="*/ 59949 h 227766"/>
                <a:gd name="connsiteX144" fmla="*/ 65737 w 327509"/>
                <a:gd name="connsiteY144" fmla="*/ 59949 h 227766"/>
                <a:gd name="connsiteX145" fmla="*/ 67641 w 327509"/>
                <a:gd name="connsiteY145" fmla="*/ 60900 h 227766"/>
                <a:gd name="connsiteX146" fmla="*/ 79064 w 327509"/>
                <a:gd name="connsiteY146" fmla="*/ 58046 h 227766"/>
                <a:gd name="connsiteX147" fmla="*/ 75256 w 327509"/>
                <a:gd name="connsiteY147" fmla="*/ 60900 h 227766"/>
                <a:gd name="connsiteX148" fmla="*/ 75256 w 327509"/>
                <a:gd name="connsiteY148" fmla="*/ 60900 h 227766"/>
                <a:gd name="connsiteX149" fmla="*/ 73353 w 327509"/>
                <a:gd name="connsiteY149" fmla="*/ 61852 h 227766"/>
                <a:gd name="connsiteX150" fmla="*/ 79064 w 327509"/>
                <a:gd name="connsiteY150" fmla="*/ 60900 h 227766"/>
                <a:gd name="connsiteX151" fmla="*/ 80016 w 327509"/>
                <a:gd name="connsiteY151" fmla="*/ 60900 h 227766"/>
                <a:gd name="connsiteX152" fmla="*/ 80016 w 327509"/>
                <a:gd name="connsiteY152" fmla="*/ 60900 h 227766"/>
                <a:gd name="connsiteX153" fmla="*/ 80968 w 327509"/>
                <a:gd name="connsiteY153" fmla="*/ 61852 h 227766"/>
                <a:gd name="connsiteX154" fmla="*/ 80968 w 327509"/>
                <a:gd name="connsiteY154" fmla="*/ 61852 h 227766"/>
                <a:gd name="connsiteX155" fmla="*/ 93342 w 327509"/>
                <a:gd name="connsiteY155" fmla="*/ 59949 h 227766"/>
                <a:gd name="connsiteX156" fmla="*/ 94294 w 327509"/>
                <a:gd name="connsiteY156" fmla="*/ 58997 h 227766"/>
                <a:gd name="connsiteX157" fmla="*/ 105717 w 327509"/>
                <a:gd name="connsiteY157" fmla="*/ 58997 h 227766"/>
                <a:gd name="connsiteX158" fmla="*/ 104765 w 327509"/>
                <a:gd name="connsiteY158" fmla="*/ 57094 h 227766"/>
                <a:gd name="connsiteX159" fmla="*/ 107621 w 327509"/>
                <a:gd name="connsiteY159" fmla="*/ 57094 h 227766"/>
                <a:gd name="connsiteX160" fmla="*/ 111429 w 327509"/>
                <a:gd name="connsiteY160" fmla="*/ 60900 h 227766"/>
                <a:gd name="connsiteX161" fmla="*/ 116188 w 327509"/>
                <a:gd name="connsiteY161" fmla="*/ 60900 h 227766"/>
                <a:gd name="connsiteX162" fmla="*/ 119044 w 327509"/>
                <a:gd name="connsiteY162" fmla="*/ 58997 h 227766"/>
                <a:gd name="connsiteX163" fmla="*/ 123803 w 327509"/>
                <a:gd name="connsiteY163" fmla="*/ 58997 h 227766"/>
                <a:gd name="connsiteX164" fmla="*/ 123803 w 327509"/>
                <a:gd name="connsiteY164" fmla="*/ 60900 h 227766"/>
                <a:gd name="connsiteX165" fmla="*/ 131418 w 327509"/>
                <a:gd name="connsiteY165" fmla="*/ 60900 h 227766"/>
                <a:gd name="connsiteX166" fmla="*/ 138082 w 327509"/>
                <a:gd name="connsiteY166" fmla="*/ 58046 h 227766"/>
                <a:gd name="connsiteX167" fmla="*/ 139034 w 327509"/>
                <a:gd name="connsiteY167" fmla="*/ 58997 h 227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</a:cxnLst>
              <a:rect l="l" t="t" r="r" b="b"/>
              <a:pathLst>
                <a:path w="327509" h="227766">
                  <a:moveTo>
                    <a:pt x="139034" y="58997"/>
                  </a:moveTo>
                  <a:lnTo>
                    <a:pt x="141889" y="58997"/>
                  </a:lnTo>
                  <a:cubicBezTo>
                    <a:pt x="133322" y="60900"/>
                    <a:pt x="124755" y="60900"/>
                    <a:pt x="116188" y="61852"/>
                  </a:cubicBezTo>
                  <a:cubicBezTo>
                    <a:pt x="135226" y="63755"/>
                    <a:pt x="158072" y="63755"/>
                    <a:pt x="170446" y="51385"/>
                  </a:cubicBezTo>
                  <a:cubicBezTo>
                    <a:pt x="173302" y="56143"/>
                    <a:pt x="191388" y="55191"/>
                    <a:pt x="191388" y="54239"/>
                  </a:cubicBezTo>
                  <a:cubicBezTo>
                    <a:pt x="195196" y="52336"/>
                    <a:pt x="199003" y="51385"/>
                    <a:pt x="201859" y="50433"/>
                  </a:cubicBezTo>
                  <a:cubicBezTo>
                    <a:pt x="199003" y="51385"/>
                    <a:pt x="197100" y="52336"/>
                    <a:pt x="194244" y="53288"/>
                  </a:cubicBezTo>
                  <a:cubicBezTo>
                    <a:pt x="197100" y="52336"/>
                    <a:pt x="199003" y="51385"/>
                    <a:pt x="201859" y="50433"/>
                  </a:cubicBezTo>
                  <a:cubicBezTo>
                    <a:pt x="204715" y="49482"/>
                    <a:pt x="207570" y="48530"/>
                    <a:pt x="210426" y="47578"/>
                  </a:cubicBezTo>
                  <a:cubicBezTo>
                    <a:pt x="213282" y="46627"/>
                    <a:pt x="217089" y="45675"/>
                    <a:pt x="218041" y="45675"/>
                  </a:cubicBezTo>
                  <a:cubicBezTo>
                    <a:pt x="219945" y="44724"/>
                    <a:pt x="222801" y="44724"/>
                    <a:pt x="224705" y="43772"/>
                  </a:cubicBezTo>
                  <a:cubicBezTo>
                    <a:pt x="228512" y="42821"/>
                    <a:pt x="231368" y="43772"/>
                    <a:pt x="231368" y="44724"/>
                  </a:cubicBezTo>
                  <a:lnTo>
                    <a:pt x="231368" y="44724"/>
                  </a:lnTo>
                  <a:cubicBezTo>
                    <a:pt x="231368" y="44724"/>
                    <a:pt x="232320" y="44724"/>
                    <a:pt x="230416" y="45675"/>
                  </a:cubicBezTo>
                  <a:cubicBezTo>
                    <a:pt x="228512" y="46627"/>
                    <a:pt x="227560" y="47578"/>
                    <a:pt x="225657" y="48530"/>
                  </a:cubicBezTo>
                  <a:cubicBezTo>
                    <a:pt x="222801" y="50433"/>
                    <a:pt x="220897" y="51385"/>
                    <a:pt x="219945" y="51385"/>
                  </a:cubicBezTo>
                  <a:lnTo>
                    <a:pt x="218993" y="51385"/>
                  </a:lnTo>
                  <a:cubicBezTo>
                    <a:pt x="219945" y="51385"/>
                    <a:pt x="219945" y="51385"/>
                    <a:pt x="219945" y="51385"/>
                  </a:cubicBezTo>
                  <a:cubicBezTo>
                    <a:pt x="220897" y="51385"/>
                    <a:pt x="220897" y="52336"/>
                    <a:pt x="220897" y="53288"/>
                  </a:cubicBezTo>
                  <a:lnTo>
                    <a:pt x="220897" y="53288"/>
                  </a:lnTo>
                  <a:lnTo>
                    <a:pt x="219945" y="54239"/>
                  </a:lnTo>
                  <a:lnTo>
                    <a:pt x="218041" y="56143"/>
                  </a:lnTo>
                  <a:cubicBezTo>
                    <a:pt x="216138" y="58046"/>
                    <a:pt x="215186" y="58997"/>
                    <a:pt x="213282" y="60900"/>
                  </a:cubicBezTo>
                  <a:cubicBezTo>
                    <a:pt x="215186" y="60900"/>
                    <a:pt x="215186" y="60900"/>
                    <a:pt x="218993" y="59949"/>
                  </a:cubicBezTo>
                  <a:lnTo>
                    <a:pt x="215186" y="61852"/>
                  </a:lnTo>
                  <a:cubicBezTo>
                    <a:pt x="213282" y="65658"/>
                    <a:pt x="206619" y="71368"/>
                    <a:pt x="203763" y="75174"/>
                  </a:cubicBezTo>
                  <a:cubicBezTo>
                    <a:pt x="203763" y="74222"/>
                    <a:pt x="200907" y="76126"/>
                    <a:pt x="199003" y="77077"/>
                  </a:cubicBezTo>
                  <a:lnTo>
                    <a:pt x="199955" y="77077"/>
                  </a:lnTo>
                  <a:cubicBezTo>
                    <a:pt x="191388" y="83738"/>
                    <a:pt x="181869" y="92302"/>
                    <a:pt x="174254" y="98011"/>
                  </a:cubicBezTo>
                  <a:cubicBezTo>
                    <a:pt x="173302" y="98963"/>
                    <a:pt x="172350" y="98963"/>
                    <a:pt x="171398" y="98963"/>
                  </a:cubicBezTo>
                  <a:lnTo>
                    <a:pt x="164735" y="105624"/>
                  </a:lnTo>
                  <a:cubicBezTo>
                    <a:pt x="164735" y="103721"/>
                    <a:pt x="158072" y="109430"/>
                    <a:pt x="160927" y="105624"/>
                  </a:cubicBezTo>
                  <a:cubicBezTo>
                    <a:pt x="156168" y="111334"/>
                    <a:pt x="150456" y="115140"/>
                    <a:pt x="146649" y="120849"/>
                  </a:cubicBezTo>
                  <a:cubicBezTo>
                    <a:pt x="127611" y="136074"/>
                    <a:pt x="108573" y="153203"/>
                    <a:pt x="91439" y="170331"/>
                  </a:cubicBezTo>
                  <a:lnTo>
                    <a:pt x="92391" y="170331"/>
                  </a:lnTo>
                  <a:cubicBezTo>
                    <a:pt x="86679" y="176992"/>
                    <a:pt x="81920" y="183653"/>
                    <a:pt x="73353" y="189362"/>
                  </a:cubicBezTo>
                  <a:cubicBezTo>
                    <a:pt x="68593" y="196023"/>
                    <a:pt x="60978" y="203636"/>
                    <a:pt x="60978" y="207442"/>
                  </a:cubicBezTo>
                  <a:cubicBezTo>
                    <a:pt x="54315" y="213151"/>
                    <a:pt x="52411" y="216958"/>
                    <a:pt x="46699" y="222667"/>
                  </a:cubicBezTo>
                  <a:cubicBezTo>
                    <a:pt x="49555" y="222667"/>
                    <a:pt x="41940" y="229328"/>
                    <a:pt x="45747" y="227425"/>
                  </a:cubicBezTo>
                  <a:cubicBezTo>
                    <a:pt x="51459" y="225522"/>
                    <a:pt x="50507" y="223619"/>
                    <a:pt x="55266" y="221715"/>
                  </a:cubicBezTo>
                  <a:lnTo>
                    <a:pt x="55266" y="221715"/>
                  </a:lnTo>
                  <a:cubicBezTo>
                    <a:pt x="74304" y="209345"/>
                    <a:pt x="92391" y="196023"/>
                    <a:pt x="110477" y="182701"/>
                  </a:cubicBezTo>
                  <a:cubicBezTo>
                    <a:pt x="121899" y="172234"/>
                    <a:pt x="135226" y="162718"/>
                    <a:pt x="146649" y="152251"/>
                  </a:cubicBezTo>
                  <a:cubicBezTo>
                    <a:pt x="159024" y="140832"/>
                    <a:pt x="173302" y="128462"/>
                    <a:pt x="183773" y="118946"/>
                  </a:cubicBezTo>
                  <a:cubicBezTo>
                    <a:pt x="186629" y="116091"/>
                    <a:pt x="188532" y="116091"/>
                    <a:pt x="191388" y="114188"/>
                  </a:cubicBezTo>
                  <a:cubicBezTo>
                    <a:pt x="200907" y="105624"/>
                    <a:pt x="215186" y="95157"/>
                    <a:pt x="226608" y="84690"/>
                  </a:cubicBezTo>
                  <a:cubicBezTo>
                    <a:pt x="226608" y="84690"/>
                    <a:pt x="226608" y="84690"/>
                    <a:pt x="225657" y="84690"/>
                  </a:cubicBezTo>
                  <a:cubicBezTo>
                    <a:pt x="228512" y="81835"/>
                    <a:pt x="231368" y="79932"/>
                    <a:pt x="234224" y="78029"/>
                  </a:cubicBezTo>
                  <a:lnTo>
                    <a:pt x="238983" y="75174"/>
                  </a:lnTo>
                  <a:lnTo>
                    <a:pt x="240887" y="73271"/>
                  </a:lnTo>
                  <a:cubicBezTo>
                    <a:pt x="241839" y="72319"/>
                    <a:pt x="243743" y="71368"/>
                    <a:pt x="244695" y="70416"/>
                  </a:cubicBezTo>
                  <a:cubicBezTo>
                    <a:pt x="244695" y="70416"/>
                    <a:pt x="245646" y="68513"/>
                    <a:pt x="246598" y="68513"/>
                  </a:cubicBezTo>
                  <a:cubicBezTo>
                    <a:pt x="248502" y="68513"/>
                    <a:pt x="262781" y="55191"/>
                    <a:pt x="275155" y="43772"/>
                  </a:cubicBezTo>
                  <a:cubicBezTo>
                    <a:pt x="287530" y="32353"/>
                    <a:pt x="297049" y="22838"/>
                    <a:pt x="300857" y="20934"/>
                  </a:cubicBezTo>
                  <a:lnTo>
                    <a:pt x="302760" y="19031"/>
                  </a:lnTo>
                  <a:cubicBezTo>
                    <a:pt x="308472" y="15225"/>
                    <a:pt x="314183" y="10467"/>
                    <a:pt x="320847" y="5709"/>
                  </a:cubicBezTo>
                  <a:lnTo>
                    <a:pt x="325606" y="1903"/>
                  </a:lnTo>
                  <a:lnTo>
                    <a:pt x="326558" y="951"/>
                  </a:lnTo>
                  <a:lnTo>
                    <a:pt x="327510" y="0"/>
                  </a:lnTo>
                  <a:lnTo>
                    <a:pt x="325606" y="0"/>
                  </a:lnTo>
                  <a:cubicBezTo>
                    <a:pt x="323702" y="0"/>
                    <a:pt x="320847" y="0"/>
                    <a:pt x="318943" y="0"/>
                  </a:cubicBezTo>
                  <a:cubicBezTo>
                    <a:pt x="309424" y="951"/>
                    <a:pt x="298001" y="1903"/>
                    <a:pt x="285626" y="3806"/>
                  </a:cubicBezTo>
                  <a:cubicBezTo>
                    <a:pt x="278963" y="5709"/>
                    <a:pt x="271348" y="7612"/>
                    <a:pt x="265636" y="10467"/>
                  </a:cubicBezTo>
                  <a:cubicBezTo>
                    <a:pt x="262781" y="10467"/>
                    <a:pt x="259925" y="12370"/>
                    <a:pt x="255165" y="13322"/>
                  </a:cubicBezTo>
                  <a:cubicBezTo>
                    <a:pt x="251358" y="11419"/>
                    <a:pt x="246598" y="12370"/>
                    <a:pt x="244695" y="12370"/>
                  </a:cubicBezTo>
                  <a:cubicBezTo>
                    <a:pt x="241839" y="13322"/>
                    <a:pt x="240887" y="14274"/>
                    <a:pt x="243743" y="14274"/>
                  </a:cubicBezTo>
                  <a:cubicBezTo>
                    <a:pt x="233272" y="17128"/>
                    <a:pt x="224705" y="18080"/>
                    <a:pt x="216138" y="19983"/>
                  </a:cubicBezTo>
                  <a:lnTo>
                    <a:pt x="213282" y="20934"/>
                  </a:lnTo>
                  <a:lnTo>
                    <a:pt x="211378" y="21886"/>
                  </a:lnTo>
                  <a:cubicBezTo>
                    <a:pt x="210426" y="21886"/>
                    <a:pt x="208522" y="22838"/>
                    <a:pt x="207570" y="22838"/>
                  </a:cubicBezTo>
                  <a:cubicBezTo>
                    <a:pt x="205667" y="23789"/>
                    <a:pt x="203763" y="22838"/>
                    <a:pt x="202811" y="22838"/>
                  </a:cubicBezTo>
                  <a:cubicBezTo>
                    <a:pt x="197100" y="24741"/>
                    <a:pt x="199003" y="22838"/>
                    <a:pt x="192340" y="23789"/>
                  </a:cubicBezTo>
                  <a:cubicBezTo>
                    <a:pt x="190436" y="22838"/>
                    <a:pt x="178062" y="28547"/>
                    <a:pt x="176158" y="28547"/>
                  </a:cubicBezTo>
                  <a:lnTo>
                    <a:pt x="177110" y="28547"/>
                  </a:lnTo>
                  <a:cubicBezTo>
                    <a:pt x="170446" y="29499"/>
                    <a:pt x="165687" y="27595"/>
                    <a:pt x="159024" y="28547"/>
                  </a:cubicBezTo>
                  <a:cubicBezTo>
                    <a:pt x="139986" y="30450"/>
                    <a:pt x="119996" y="35208"/>
                    <a:pt x="102861" y="37111"/>
                  </a:cubicBezTo>
                  <a:cubicBezTo>
                    <a:pt x="102861" y="39014"/>
                    <a:pt x="106669" y="36160"/>
                    <a:pt x="106669" y="38063"/>
                  </a:cubicBezTo>
                  <a:cubicBezTo>
                    <a:pt x="96198" y="39014"/>
                    <a:pt x="85727" y="39014"/>
                    <a:pt x="76208" y="39966"/>
                  </a:cubicBezTo>
                  <a:cubicBezTo>
                    <a:pt x="74304" y="39966"/>
                    <a:pt x="72401" y="39014"/>
                    <a:pt x="71449" y="39014"/>
                  </a:cubicBezTo>
                  <a:cubicBezTo>
                    <a:pt x="68593" y="39014"/>
                    <a:pt x="69545" y="39966"/>
                    <a:pt x="67641" y="39966"/>
                  </a:cubicBezTo>
                  <a:lnTo>
                    <a:pt x="66689" y="39014"/>
                  </a:lnTo>
                  <a:cubicBezTo>
                    <a:pt x="62882" y="40917"/>
                    <a:pt x="60978" y="38063"/>
                    <a:pt x="58122" y="39014"/>
                  </a:cubicBezTo>
                  <a:cubicBezTo>
                    <a:pt x="58122" y="39966"/>
                    <a:pt x="57170" y="39966"/>
                    <a:pt x="55266" y="39966"/>
                  </a:cubicBezTo>
                  <a:cubicBezTo>
                    <a:pt x="55266" y="39014"/>
                    <a:pt x="51459" y="40917"/>
                    <a:pt x="51459" y="39014"/>
                  </a:cubicBezTo>
                  <a:lnTo>
                    <a:pt x="51459" y="39014"/>
                  </a:lnTo>
                  <a:cubicBezTo>
                    <a:pt x="50507" y="39014"/>
                    <a:pt x="50507" y="39014"/>
                    <a:pt x="49555" y="39014"/>
                  </a:cubicBezTo>
                  <a:cubicBezTo>
                    <a:pt x="48603" y="39966"/>
                    <a:pt x="36228" y="44724"/>
                    <a:pt x="35277" y="45675"/>
                  </a:cubicBezTo>
                  <a:lnTo>
                    <a:pt x="34325" y="45675"/>
                  </a:lnTo>
                  <a:cubicBezTo>
                    <a:pt x="32421" y="45675"/>
                    <a:pt x="31469" y="46627"/>
                    <a:pt x="32421" y="47578"/>
                  </a:cubicBezTo>
                  <a:lnTo>
                    <a:pt x="30517" y="47578"/>
                  </a:lnTo>
                  <a:lnTo>
                    <a:pt x="30517" y="47578"/>
                  </a:lnTo>
                  <a:lnTo>
                    <a:pt x="28613" y="47578"/>
                  </a:lnTo>
                  <a:cubicBezTo>
                    <a:pt x="28613" y="47578"/>
                    <a:pt x="27661" y="46627"/>
                    <a:pt x="28613" y="46627"/>
                  </a:cubicBezTo>
                  <a:cubicBezTo>
                    <a:pt x="27661" y="47578"/>
                    <a:pt x="25758" y="47578"/>
                    <a:pt x="24806" y="47578"/>
                  </a:cubicBezTo>
                  <a:cubicBezTo>
                    <a:pt x="28613" y="48530"/>
                    <a:pt x="33373" y="48530"/>
                    <a:pt x="37180" y="49482"/>
                  </a:cubicBezTo>
                  <a:cubicBezTo>
                    <a:pt x="35277" y="50433"/>
                    <a:pt x="32421" y="49482"/>
                    <a:pt x="31469" y="50433"/>
                  </a:cubicBezTo>
                  <a:cubicBezTo>
                    <a:pt x="29565" y="49482"/>
                    <a:pt x="24806" y="49482"/>
                    <a:pt x="21950" y="49482"/>
                  </a:cubicBezTo>
                  <a:cubicBezTo>
                    <a:pt x="20998" y="49482"/>
                    <a:pt x="20998" y="51385"/>
                    <a:pt x="19094" y="50433"/>
                  </a:cubicBezTo>
                  <a:cubicBezTo>
                    <a:pt x="18142" y="49482"/>
                    <a:pt x="17191" y="50433"/>
                    <a:pt x="16239" y="50433"/>
                  </a:cubicBezTo>
                  <a:cubicBezTo>
                    <a:pt x="18142" y="49482"/>
                    <a:pt x="19094" y="49482"/>
                    <a:pt x="20998" y="49482"/>
                  </a:cubicBezTo>
                  <a:cubicBezTo>
                    <a:pt x="20998" y="48530"/>
                    <a:pt x="17191" y="48530"/>
                    <a:pt x="16239" y="48530"/>
                  </a:cubicBezTo>
                  <a:cubicBezTo>
                    <a:pt x="15287" y="48530"/>
                    <a:pt x="12431" y="48530"/>
                    <a:pt x="10527" y="49482"/>
                  </a:cubicBezTo>
                  <a:cubicBezTo>
                    <a:pt x="11479" y="48530"/>
                    <a:pt x="8623" y="48530"/>
                    <a:pt x="7672" y="48530"/>
                  </a:cubicBezTo>
                  <a:cubicBezTo>
                    <a:pt x="6720" y="48530"/>
                    <a:pt x="5768" y="49482"/>
                    <a:pt x="5768" y="49482"/>
                  </a:cubicBezTo>
                  <a:cubicBezTo>
                    <a:pt x="5768" y="50433"/>
                    <a:pt x="10527" y="49482"/>
                    <a:pt x="9575" y="51385"/>
                  </a:cubicBezTo>
                  <a:cubicBezTo>
                    <a:pt x="8623" y="50433"/>
                    <a:pt x="6720" y="51385"/>
                    <a:pt x="4816" y="51385"/>
                  </a:cubicBezTo>
                  <a:cubicBezTo>
                    <a:pt x="4816" y="52336"/>
                    <a:pt x="5768" y="52336"/>
                    <a:pt x="4816" y="52336"/>
                  </a:cubicBezTo>
                  <a:cubicBezTo>
                    <a:pt x="2912" y="52336"/>
                    <a:pt x="1960" y="53288"/>
                    <a:pt x="1008" y="52336"/>
                  </a:cubicBezTo>
                  <a:lnTo>
                    <a:pt x="1960" y="52336"/>
                  </a:lnTo>
                  <a:cubicBezTo>
                    <a:pt x="56" y="52336"/>
                    <a:pt x="12431" y="46627"/>
                    <a:pt x="9575" y="47578"/>
                  </a:cubicBezTo>
                  <a:cubicBezTo>
                    <a:pt x="10527" y="48530"/>
                    <a:pt x="-896" y="53288"/>
                    <a:pt x="56" y="52336"/>
                  </a:cubicBezTo>
                  <a:cubicBezTo>
                    <a:pt x="1008" y="52336"/>
                    <a:pt x="-896" y="53288"/>
                    <a:pt x="1008" y="54239"/>
                  </a:cubicBezTo>
                  <a:lnTo>
                    <a:pt x="1960" y="53288"/>
                  </a:lnTo>
                  <a:cubicBezTo>
                    <a:pt x="3864" y="53288"/>
                    <a:pt x="4816" y="54239"/>
                    <a:pt x="3864" y="55191"/>
                  </a:cubicBezTo>
                  <a:cubicBezTo>
                    <a:pt x="1008" y="55191"/>
                    <a:pt x="11479" y="49482"/>
                    <a:pt x="9575" y="50433"/>
                  </a:cubicBezTo>
                  <a:lnTo>
                    <a:pt x="10527" y="50433"/>
                  </a:lnTo>
                  <a:cubicBezTo>
                    <a:pt x="9575" y="51385"/>
                    <a:pt x="6720" y="51385"/>
                    <a:pt x="5768" y="51385"/>
                  </a:cubicBezTo>
                  <a:cubicBezTo>
                    <a:pt x="5768" y="52336"/>
                    <a:pt x="4816" y="52336"/>
                    <a:pt x="2912" y="53288"/>
                  </a:cubicBezTo>
                  <a:lnTo>
                    <a:pt x="2912" y="53288"/>
                  </a:lnTo>
                  <a:cubicBezTo>
                    <a:pt x="1960" y="53288"/>
                    <a:pt x="56" y="53288"/>
                    <a:pt x="1008" y="54239"/>
                  </a:cubicBezTo>
                  <a:cubicBezTo>
                    <a:pt x="7672" y="53288"/>
                    <a:pt x="-2799" y="61852"/>
                    <a:pt x="3864" y="61852"/>
                  </a:cubicBezTo>
                  <a:cubicBezTo>
                    <a:pt x="1008" y="60900"/>
                    <a:pt x="4816" y="59949"/>
                    <a:pt x="7672" y="59949"/>
                  </a:cubicBezTo>
                  <a:cubicBezTo>
                    <a:pt x="7672" y="60900"/>
                    <a:pt x="9575" y="60900"/>
                    <a:pt x="11479" y="61852"/>
                  </a:cubicBezTo>
                  <a:cubicBezTo>
                    <a:pt x="13383" y="61852"/>
                    <a:pt x="12431" y="60900"/>
                    <a:pt x="12431" y="60900"/>
                  </a:cubicBezTo>
                  <a:cubicBezTo>
                    <a:pt x="13383" y="60900"/>
                    <a:pt x="15287" y="60900"/>
                    <a:pt x="15287" y="61852"/>
                  </a:cubicBezTo>
                  <a:cubicBezTo>
                    <a:pt x="16239" y="60900"/>
                    <a:pt x="17191" y="61852"/>
                    <a:pt x="19094" y="61852"/>
                  </a:cubicBezTo>
                  <a:cubicBezTo>
                    <a:pt x="20998" y="60900"/>
                    <a:pt x="19094" y="61852"/>
                    <a:pt x="20046" y="60900"/>
                  </a:cubicBezTo>
                  <a:cubicBezTo>
                    <a:pt x="21950" y="60900"/>
                    <a:pt x="25758" y="60900"/>
                    <a:pt x="27661" y="60900"/>
                  </a:cubicBezTo>
                  <a:cubicBezTo>
                    <a:pt x="28613" y="61852"/>
                    <a:pt x="30517" y="62803"/>
                    <a:pt x="29565" y="63755"/>
                  </a:cubicBezTo>
                  <a:cubicBezTo>
                    <a:pt x="25758" y="63755"/>
                    <a:pt x="30517" y="61852"/>
                    <a:pt x="26709" y="61852"/>
                  </a:cubicBezTo>
                  <a:cubicBezTo>
                    <a:pt x="28613" y="63755"/>
                    <a:pt x="23854" y="62803"/>
                    <a:pt x="22902" y="63755"/>
                  </a:cubicBezTo>
                  <a:cubicBezTo>
                    <a:pt x="23854" y="64707"/>
                    <a:pt x="26709" y="63755"/>
                    <a:pt x="28613" y="63755"/>
                  </a:cubicBezTo>
                  <a:lnTo>
                    <a:pt x="28613" y="63755"/>
                  </a:lnTo>
                  <a:cubicBezTo>
                    <a:pt x="30517" y="63755"/>
                    <a:pt x="33373" y="62803"/>
                    <a:pt x="35277" y="63755"/>
                  </a:cubicBezTo>
                  <a:cubicBezTo>
                    <a:pt x="35277" y="64707"/>
                    <a:pt x="36228" y="64707"/>
                    <a:pt x="34325" y="64707"/>
                  </a:cubicBezTo>
                  <a:lnTo>
                    <a:pt x="37180" y="64707"/>
                  </a:lnTo>
                  <a:cubicBezTo>
                    <a:pt x="37180" y="64707"/>
                    <a:pt x="38132" y="64707"/>
                    <a:pt x="37180" y="63755"/>
                  </a:cubicBezTo>
                  <a:cubicBezTo>
                    <a:pt x="38132" y="62803"/>
                    <a:pt x="39084" y="63755"/>
                    <a:pt x="40036" y="63755"/>
                  </a:cubicBezTo>
                  <a:cubicBezTo>
                    <a:pt x="40036" y="64707"/>
                    <a:pt x="52411" y="58997"/>
                    <a:pt x="52411" y="59949"/>
                  </a:cubicBezTo>
                  <a:cubicBezTo>
                    <a:pt x="54315" y="59949"/>
                    <a:pt x="54315" y="60900"/>
                    <a:pt x="56218" y="59949"/>
                  </a:cubicBezTo>
                  <a:cubicBezTo>
                    <a:pt x="56218" y="58997"/>
                    <a:pt x="40036" y="63755"/>
                    <a:pt x="42892" y="63755"/>
                  </a:cubicBezTo>
                  <a:cubicBezTo>
                    <a:pt x="44796" y="64707"/>
                    <a:pt x="61930" y="58046"/>
                    <a:pt x="62882" y="58997"/>
                  </a:cubicBezTo>
                  <a:cubicBezTo>
                    <a:pt x="63834" y="58997"/>
                    <a:pt x="65737" y="58046"/>
                    <a:pt x="64785" y="58046"/>
                  </a:cubicBezTo>
                  <a:cubicBezTo>
                    <a:pt x="66689" y="58046"/>
                    <a:pt x="64785" y="58997"/>
                    <a:pt x="65737" y="59949"/>
                  </a:cubicBezTo>
                  <a:lnTo>
                    <a:pt x="65737" y="59949"/>
                  </a:lnTo>
                  <a:lnTo>
                    <a:pt x="67641" y="60900"/>
                  </a:lnTo>
                  <a:cubicBezTo>
                    <a:pt x="70497" y="58997"/>
                    <a:pt x="76208" y="59949"/>
                    <a:pt x="79064" y="58046"/>
                  </a:cubicBezTo>
                  <a:cubicBezTo>
                    <a:pt x="78112" y="58997"/>
                    <a:pt x="77160" y="59949"/>
                    <a:pt x="75256" y="60900"/>
                  </a:cubicBezTo>
                  <a:lnTo>
                    <a:pt x="75256" y="60900"/>
                  </a:lnTo>
                  <a:lnTo>
                    <a:pt x="73353" y="61852"/>
                  </a:lnTo>
                  <a:cubicBezTo>
                    <a:pt x="75256" y="61852"/>
                    <a:pt x="77160" y="61852"/>
                    <a:pt x="79064" y="60900"/>
                  </a:cubicBezTo>
                  <a:lnTo>
                    <a:pt x="80016" y="60900"/>
                  </a:lnTo>
                  <a:lnTo>
                    <a:pt x="80016" y="60900"/>
                  </a:lnTo>
                  <a:cubicBezTo>
                    <a:pt x="80968" y="60900"/>
                    <a:pt x="80968" y="60900"/>
                    <a:pt x="80968" y="61852"/>
                  </a:cubicBezTo>
                  <a:lnTo>
                    <a:pt x="80968" y="61852"/>
                  </a:lnTo>
                  <a:cubicBezTo>
                    <a:pt x="82872" y="63755"/>
                    <a:pt x="89535" y="58997"/>
                    <a:pt x="93342" y="59949"/>
                  </a:cubicBezTo>
                  <a:cubicBezTo>
                    <a:pt x="94294" y="59949"/>
                    <a:pt x="93342" y="59949"/>
                    <a:pt x="94294" y="58997"/>
                  </a:cubicBezTo>
                  <a:cubicBezTo>
                    <a:pt x="98102" y="58997"/>
                    <a:pt x="100958" y="58997"/>
                    <a:pt x="105717" y="58997"/>
                  </a:cubicBezTo>
                  <a:cubicBezTo>
                    <a:pt x="106669" y="58046"/>
                    <a:pt x="106669" y="58046"/>
                    <a:pt x="104765" y="57094"/>
                  </a:cubicBezTo>
                  <a:lnTo>
                    <a:pt x="107621" y="57094"/>
                  </a:lnTo>
                  <a:cubicBezTo>
                    <a:pt x="104765" y="59949"/>
                    <a:pt x="113332" y="58046"/>
                    <a:pt x="111429" y="60900"/>
                  </a:cubicBezTo>
                  <a:cubicBezTo>
                    <a:pt x="112380" y="60900"/>
                    <a:pt x="114284" y="60900"/>
                    <a:pt x="116188" y="60900"/>
                  </a:cubicBezTo>
                  <a:cubicBezTo>
                    <a:pt x="116188" y="59949"/>
                    <a:pt x="116188" y="58997"/>
                    <a:pt x="119044" y="58997"/>
                  </a:cubicBezTo>
                  <a:cubicBezTo>
                    <a:pt x="121899" y="58997"/>
                    <a:pt x="121899" y="58997"/>
                    <a:pt x="123803" y="58997"/>
                  </a:cubicBezTo>
                  <a:cubicBezTo>
                    <a:pt x="124755" y="59949"/>
                    <a:pt x="123803" y="59949"/>
                    <a:pt x="123803" y="60900"/>
                  </a:cubicBezTo>
                  <a:cubicBezTo>
                    <a:pt x="127611" y="58997"/>
                    <a:pt x="127611" y="61852"/>
                    <a:pt x="131418" y="60900"/>
                  </a:cubicBezTo>
                  <a:cubicBezTo>
                    <a:pt x="133322" y="59949"/>
                    <a:pt x="138082" y="59949"/>
                    <a:pt x="138082" y="58046"/>
                  </a:cubicBezTo>
                  <a:cubicBezTo>
                    <a:pt x="139034" y="57094"/>
                    <a:pt x="139034" y="58046"/>
                    <a:pt x="139034" y="58997"/>
                  </a:cubicBezTo>
                  <a:close/>
                </a:path>
              </a:pathLst>
            </a:custGeom>
            <a:solidFill>
              <a:srgbClr val="144573"/>
            </a:solidFill>
            <a:ln w="95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 sz="1800"/>
            </a:p>
          </p:txBody>
        </p:sp>
      </p:grpSp>
    </p:spTree>
    <p:extLst>
      <p:ext uri="{BB962C8B-B14F-4D97-AF65-F5344CB8AC3E}">
        <p14:creationId xmlns:p14="http://schemas.microsoft.com/office/powerpoint/2010/main" val="1111963009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1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 descr="Et billede, der indeholder person, udendørs, bænk, sidder&#10;&#10;Automatisk genereret beskrivelse">
            <a:extLst>
              <a:ext uri="{FF2B5EF4-FFF2-40B4-BE49-F238E27FC236}">
                <a16:creationId xmlns:a16="http://schemas.microsoft.com/office/drawing/2014/main" id="{731A862E-C8E1-AF42-92F3-C4898253E15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E0728A4A-9392-3044-A1DB-26D65B235A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23" name="Titel 9">
            <a:extLst>
              <a:ext uri="{FF2B5EF4-FFF2-40B4-BE49-F238E27FC236}">
                <a16:creationId xmlns:a16="http://schemas.microsoft.com/office/drawing/2014/main" id="{F443A15A-C60D-A744-B381-2453017F91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26" name="Billede 25">
            <a:extLst>
              <a:ext uri="{FF2B5EF4-FFF2-40B4-BE49-F238E27FC236}">
                <a16:creationId xmlns:a16="http://schemas.microsoft.com/office/drawing/2014/main" id="{D00CBDA2-D83C-C64D-8FE0-E7AFC79E139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554752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2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 descr="Et billede, der indeholder indendørs, person, barn, sidder&#10;&#10;Automatisk genereret beskrivelse">
            <a:extLst>
              <a:ext uri="{FF2B5EF4-FFF2-40B4-BE49-F238E27FC236}">
                <a16:creationId xmlns:a16="http://schemas.microsoft.com/office/drawing/2014/main" id="{7FC025C4-3C51-2A45-9719-DDD2CC92ACD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62FB2E0C-BE4C-8B44-9153-E69F14E1281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D64F0D3D-51BD-EB4A-AF54-E0CD9509F3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47472068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3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lede 3" descr="Et billede, der indeholder paraply, person, tilbehør, opbevarer&#10;&#10;Automatisk genereret beskrivelse">
            <a:extLst>
              <a:ext uri="{FF2B5EF4-FFF2-40B4-BE49-F238E27FC236}">
                <a16:creationId xmlns:a16="http://schemas.microsoft.com/office/drawing/2014/main" id="{D11B5318-5D51-FF46-AFA4-AA3E8E7B22B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9D436AAE-0CC0-2842-B97D-F213D08176B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C518AE99-3537-9048-8647-3EEBD70364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517387237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4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 descr="Et billede, der indeholder udendørs, græs, felt, får&#10;&#10;Automatisk genereret beskrivelse">
            <a:extLst>
              <a:ext uri="{FF2B5EF4-FFF2-40B4-BE49-F238E27FC236}">
                <a16:creationId xmlns:a16="http://schemas.microsoft.com/office/drawing/2014/main" id="{28037FDD-8966-5E47-91C2-1782A94194D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CC8B7C6-4DC1-5C4E-B62C-454EEB2BB56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F8D615CE-0B75-DA4C-B19A-F75CC578CB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049569156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5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lede 3" descr="Et billede, der indeholder udendørs, græs, bjerg, mad&#10;&#10;Automatisk genereret beskrivelse">
            <a:extLst>
              <a:ext uri="{FF2B5EF4-FFF2-40B4-BE49-F238E27FC236}">
                <a16:creationId xmlns:a16="http://schemas.microsoft.com/office/drawing/2014/main" id="{0EA045AA-3339-604F-8EB8-940992657D5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7E53EFFB-2725-DF45-91C3-4FEDAFF8E7A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F071EF88-57BE-7A41-922C-F13269FBA8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609156230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6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 descr="Et billede, der indeholder udendørs, bygning, hegn, by&#10;&#10;Automatisk genereret beskrivelse">
            <a:extLst>
              <a:ext uri="{FF2B5EF4-FFF2-40B4-BE49-F238E27FC236}">
                <a16:creationId xmlns:a16="http://schemas.microsoft.com/office/drawing/2014/main" id="{9605DD56-4AD4-7B47-96A1-120C1DF65E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4BE94C62-970B-4746-BEEC-26579458ED5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7D4BF381-4455-B540-8DC5-812DBB345C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178536925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7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lede 3" descr="Et billede, der indeholder person, udendørs, bygning, forbereder&#10;&#10;Automatisk genereret beskrivelse">
            <a:extLst>
              <a:ext uri="{FF2B5EF4-FFF2-40B4-BE49-F238E27FC236}">
                <a16:creationId xmlns:a16="http://schemas.microsoft.com/office/drawing/2014/main" id="{40209235-55F1-C34E-9B18-45E743DAE7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200" y="0"/>
            <a:ext cx="12195200" cy="6858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BC0AD2C0-AC1A-A542-B630-A0A9A232BA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D545335C-C562-DA4D-AC43-5CCF4BE5D8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658740855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8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 descr="Et billede, der indeholder person, indendørs, opbevarer, afspiller&#10;&#10;Automatisk genereret beskrivelse">
            <a:extLst>
              <a:ext uri="{FF2B5EF4-FFF2-40B4-BE49-F238E27FC236}">
                <a16:creationId xmlns:a16="http://schemas.microsoft.com/office/drawing/2014/main" id="{86A135C5-411F-3647-B5F8-69AF5E9E13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200" y="0"/>
            <a:ext cx="12195200" cy="6858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0070658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6) Indhold - To emner med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2357608" y="1736726"/>
            <a:ext cx="3240000" cy="2717399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22" name="Pladsholder til tekst 3"/>
          <p:cNvSpPr>
            <a:spLocks noGrp="1"/>
          </p:cNvSpPr>
          <p:nvPr>
            <p:ph type="body" sz="quarter" idx="25" hasCustomPrompt="1"/>
          </p:nvPr>
        </p:nvSpPr>
        <p:spPr>
          <a:xfrm>
            <a:off x="2357608" y="4589755"/>
            <a:ext cx="3240000" cy="254724"/>
          </a:xfrm>
        </p:spPr>
        <p:txBody>
          <a:bodyPr anchor="b">
            <a:noAutofit/>
          </a:bodyPr>
          <a:lstStyle>
            <a:lvl1pPr marL="0" indent="0" algn="ctr">
              <a:buNone/>
              <a:defRPr sz="1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23" name="Pladsholder til tekst 3"/>
          <p:cNvSpPr>
            <a:spLocks noGrp="1"/>
          </p:cNvSpPr>
          <p:nvPr>
            <p:ph type="body" sz="quarter" idx="26" hasCustomPrompt="1"/>
          </p:nvPr>
        </p:nvSpPr>
        <p:spPr>
          <a:xfrm>
            <a:off x="2357608" y="4993802"/>
            <a:ext cx="3240000" cy="1059239"/>
          </a:xfrm>
        </p:spPr>
        <p:txBody>
          <a:bodyPr/>
          <a:lstStyle>
            <a:lvl1pPr marL="0" indent="0" algn="ctr">
              <a:buNone/>
              <a:defRPr sz="14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7181481A-2E88-8D46-9166-9ED669A4243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262972"/>
            <a:ext cx="10363200" cy="198541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47" name="Title Placeholder 1">
            <a:extLst>
              <a:ext uri="{FF2B5EF4-FFF2-40B4-BE49-F238E27FC236}">
                <a16:creationId xmlns:a16="http://schemas.microsoft.com/office/drawing/2014/main" id="{611C7174-4E01-3847-B4C4-CCC7A05178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432001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da-DK" noProof="0"/>
              <a:t>Klik for at redigere overskrift</a:t>
            </a:r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F2BF2CA4-3ABA-C14B-868D-D7653200FBC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6594392" y="1741586"/>
            <a:ext cx="3240000" cy="2717399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24" name="Pladsholder til tekst 3">
            <a:extLst>
              <a:ext uri="{FF2B5EF4-FFF2-40B4-BE49-F238E27FC236}">
                <a16:creationId xmlns:a16="http://schemas.microsoft.com/office/drawing/2014/main" id="{0F516A20-06BF-E442-B335-3C7FA7EEC87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594392" y="4594615"/>
            <a:ext cx="3240000" cy="254724"/>
          </a:xfrm>
        </p:spPr>
        <p:txBody>
          <a:bodyPr anchor="b">
            <a:noAutofit/>
          </a:bodyPr>
          <a:lstStyle>
            <a:lvl1pPr marL="0" indent="0" algn="ctr">
              <a:buNone/>
              <a:defRPr sz="1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25" name="Pladsholder til tekst 3">
            <a:extLst>
              <a:ext uri="{FF2B5EF4-FFF2-40B4-BE49-F238E27FC236}">
                <a16:creationId xmlns:a16="http://schemas.microsoft.com/office/drawing/2014/main" id="{8D48806D-8505-8F46-82F5-E496FD91153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594392" y="4998662"/>
            <a:ext cx="3240000" cy="1059239"/>
          </a:xfrm>
        </p:spPr>
        <p:txBody>
          <a:bodyPr/>
          <a:lstStyle>
            <a:lvl1pPr marL="0" indent="0" algn="ctr">
              <a:buNone/>
              <a:defRPr sz="14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</p:spTree>
    <p:extLst>
      <p:ext uri="{BB962C8B-B14F-4D97-AF65-F5344CB8AC3E}">
        <p14:creationId xmlns:p14="http://schemas.microsoft.com/office/powerpoint/2010/main" val="24885752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9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083" name="Picture 3" descr="D:\Opgaver\EDC Marts 2020\Powerpointskabelon\billeder\ppt_billede_det_handler_om_at_gøre_sig_umage_2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277568719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10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106" name="Picture 2" descr="D:\Opgaver\EDC Marts 2020\Powerpointskabelon\billeder\ppt_billede_drone_by_frederiksberg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" y="1"/>
            <a:ext cx="1219199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261841382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11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130" name="Picture 2" descr="D:\Opgaver\EDC Marts 2020\Powerpointskabelon\billeder\ppt_billede_par_renoverer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212318240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12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154" name="Picture 2" descr="D:\Opgaver\EDC Marts 2020\Powerpointskabelon\billeder\ppt_billede_par_ud_af_vindue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12191999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912778146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13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178" name="Picture 2" descr="D:\Opgaver\EDC Marts 2020\Powerpointskabelon\billeder\ppt_billede_kvinde_i_lejlighed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12192001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641219301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14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02" name="Picture 2" descr="D:\Opgaver\EDC Marts 2020\Powerpointskabelon\billeder\ppt_billede_familie_i_sommerhus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97978140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15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226" name="Picture 2" descr="D:\Opgaver\EDC Marts 2020\Powerpointskabelon\billeder\ppt_billede_sommerhus_hoet_gras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515868633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16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274" name="Picture 2" descr="D:\Opgaver\EDC Marts 2020\Powerpointskabelon\billeder\ppt_billede_kvinde_i_lejlighed_med_te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026372608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17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298" name="Picture 2" descr="D:\Opgaver\EDC Marts 2020\Powerpointskabelon\billeder\ppt_billede_mand_ruller_taeppe_ud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" y="0"/>
            <a:ext cx="1219199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0645633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18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323" name="Picture 3" descr="D:\Opgaver\EDC Marts 2020\Powerpointskabelon\billeder\ppt_billede_aeldre_par_maler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" y="1"/>
            <a:ext cx="12191998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40913508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117" Type="http://schemas.openxmlformats.org/officeDocument/2006/relationships/theme" Target="../theme/theme1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84" Type="http://schemas.openxmlformats.org/officeDocument/2006/relationships/slideLayout" Target="../slideLayouts/slideLayout84.xml"/><Relationship Id="rId89" Type="http://schemas.openxmlformats.org/officeDocument/2006/relationships/slideLayout" Target="../slideLayouts/slideLayout89.xml"/><Relationship Id="rId112" Type="http://schemas.openxmlformats.org/officeDocument/2006/relationships/slideLayout" Target="../slideLayouts/slideLayout112.xml"/><Relationship Id="rId16" Type="http://schemas.openxmlformats.org/officeDocument/2006/relationships/slideLayout" Target="../slideLayouts/slideLayout16.xml"/><Relationship Id="rId107" Type="http://schemas.openxmlformats.org/officeDocument/2006/relationships/slideLayout" Target="../slideLayouts/slideLayout107.xml"/><Relationship Id="rId11" Type="http://schemas.openxmlformats.org/officeDocument/2006/relationships/slideLayout" Target="../slideLayouts/slideLayout11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74" Type="http://schemas.openxmlformats.org/officeDocument/2006/relationships/slideLayout" Target="../slideLayouts/slideLayout74.xml"/><Relationship Id="rId79" Type="http://schemas.openxmlformats.org/officeDocument/2006/relationships/slideLayout" Target="../slideLayouts/slideLayout79.xml"/><Relationship Id="rId102" Type="http://schemas.openxmlformats.org/officeDocument/2006/relationships/slideLayout" Target="../slideLayouts/slideLayout102.xml"/><Relationship Id="rId5" Type="http://schemas.openxmlformats.org/officeDocument/2006/relationships/slideLayout" Target="../slideLayouts/slideLayout5.xml"/><Relationship Id="rId90" Type="http://schemas.openxmlformats.org/officeDocument/2006/relationships/slideLayout" Target="../slideLayouts/slideLayout90.xml"/><Relationship Id="rId95" Type="http://schemas.openxmlformats.org/officeDocument/2006/relationships/slideLayout" Target="../slideLayouts/slideLayout95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113" Type="http://schemas.openxmlformats.org/officeDocument/2006/relationships/slideLayout" Target="../slideLayouts/slideLayout113.xml"/><Relationship Id="rId118" Type="http://schemas.openxmlformats.org/officeDocument/2006/relationships/tags" Target="../tags/tag2.xml"/><Relationship Id="rId80" Type="http://schemas.openxmlformats.org/officeDocument/2006/relationships/slideLayout" Target="../slideLayouts/slideLayout80.xml"/><Relationship Id="rId85" Type="http://schemas.openxmlformats.org/officeDocument/2006/relationships/slideLayout" Target="../slideLayouts/slideLayout85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59" Type="http://schemas.openxmlformats.org/officeDocument/2006/relationships/slideLayout" Target="../slideLayouts/slideLayout59.xml"/><Relationship Id="rId103" Type="http://schemas.openxmlformats.org/officeDocument/2006/relationships/slideLayout" Target="../slideLayouts/slideLayout103.xml"/><Relationship Id="rId108" Type="http://schemas.openxmlformats.org/officeDocument/2006/relationships/slideLayout" Target="../slideLayouts/slideLayout108.xml"/><Relationship Id="rId54" Type="http://schemas.openxmlformats.org/officeDocument/2006/relationships/slideLayout" Target="../slideLayouts/slideLayout54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91" Type="http://schemas.openxmlformats.org/officeDocument/2006/relationships/slideLayout" Target="../slideLayouts/slideLayout91.xml"/><Relationship Id="rId96" Type="http://schemas.openxmlformats.org/officeDocument/2006/relationships/slideLayout" Target="../slideLayouts/slideLayout9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49" Type="http://schemas.openxmlformats.org/officeDocument/2006/relationships/slideLayout" Target="../slideLayouts/slideLayout49.xml"/><Relationship Id="rId114" Type="http://schemas.openxmlformats.org/officeDocument/2006/relationships/slideLayout" Target="../slideLayouts/slideLayout114.xml"/><Relationship Id="rId119" Type="http://schemas.openxmlformats.org/officeDocument/2006/relationships/oleObject" Target="../embeddings/oleObject1.bin"/><Relationship Id="rId44" Type="http://schemas.openxmlformats.org/officeDocument/2006/relationships/slideLayout" Target="../slideLayouts/slideLayout44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81" Type="http://schemas.openxmlformats.org/officeDocument/2006/relationships/slideLayout" Target="../slideLayouts/slideLayout81.xml"/><Relationship Id="rId86" Type="http://schemas.openxmlformats.org/officeDocument/2006/relationships/slideLayout" Target="../slideLayouts/slideLayout8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109" Type="http://schemas.openxmlformats.org/officeDocument/2006/relationships/slideLayout" Target="../slideLayouts/slideLayout10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slideLayout" Target="../slideLayouts/slideLayout76.xml"/><Relationship Id="rId97" Type="http://schemas.openxmlformats.org/officeDocument/2006/relationships/slideLayout" Target="../slideLayouts/slideLayout97.xml"/><Relationship Id="rId104" Type="http://schemas.openxmlformats.org/officeDocument/2006/relationships/slideLayout" Target="../slideLayouts/slideLayout104.xml"/><Relationship Id="rId120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92" Type="http://schemas.openxmlformats.org/officeDocument/2006/relationships/slideLayout" Target="../slideLayouts/slideLayout92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24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66" Type="http://schemas.openxmlformats.org/officeDocument/2006/relationships/slideLayout" Target="../slideLayouts/slideLayout66.xml"/><Relationship Id="rId87" Type="http://schemas.openxmlformats.org/officeDocument/2006/relationships/slideLayout" Target="../slideLayouts/slideLayout87.xml"/><Relationship Id="rId110" Type="http://schemas.openxmlformats.org/officeDocument/2006/relationships/slideLayout" Target="../slideLayouts/slideLayout110.xml"/><Relationship Id="rId115" Type="http://schemas.openxmlformats.org/officeDocument/2006/relationships/slideLayout" Target="../slideLayouts/slideLayout115.xml"/><Relationship Id="rId61" Type="http://schemas.openxmlformats.org/officeDocument/2006/relationships/slideLayout" Target="../slideLayouts/slideLayout61.xml"/><Relationship Id="rId82" Type="http://schemas.openxmlformats.org/officeDocument/2006/relationships/slideLayout" Target="../slideLayouts/slideLayout82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56" Type="http://schemas.openxmlformats.org/officeDocument/2006/relationships/slideLayout" Target="../slideLayouts/slideLayout56.xml"/><Relationship Id="rId77" Type="http://schemas.openxmlformats.org/officeDocument/2006/relationships/slideLayout" Target="../slideLayouts/slideLayout77.xml"/><Relationship Id="rId100" Type="http://schemas.openxmlformats.org/officeDocument/2006/relationships/slideLayout" Target="../slideLayouts/slideLayout100.xml"/><Relationship Id="rId105" Type="http://schemas.openxmlformats.org/officeDocument/2006/relationships/slideLayout" Target="../slideLayouts/slideLayout105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93" Type="http://schemas.openxmlformats.org/officeDocument/2006/relationships/slideLayout" Target="../slideLayouts/slideLayout93.xml"/><Relationship Id="rId98" Type="http://schemas.openxmlformats.org/officeDocument/2006/relationships/slideLayout" Target="../slideLayouts/slideLayout98.xml"/><Relationship Id="rId121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25" Type="http://schemas.openxmlformats.org/officeDocument/2006/relationships/slideLayout" Target="../slideLayouts/slideLayout25.xml"/><Relationship Id="rId46" Type="http://schemas.openxmlformats.org/officeDocument/2006/relationships/slideLayout" Target="../slideLayouts/slideLayout46.xml"/><Relationship Id="rId67" Type="http://schemas.openxmlformats.org/officeDocument/2006/relationships/slideLayout" Target="../slideLayouts/slideLayout67.xml"/><Relationship Id="rId116" Type="http://schemas.openxmlformats.org/officeDocument/2006/relationships/slideLayout" Target="../slideLayouts/slideLayout11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62" Type="http://schemas.openxmlformats.org/officeDocument/2006/relationships/slideLayout" Target="../slideLayouts/slideLayout62.xml"/><Relationship Id="rId83" Type="http://schemas.openxmlformats.org/officeDocument/2006/relationships/slideLayout" Target="../slideLayouts/slideLayout83.xml"/><Relationship Id="rId88" Type="http://schemas.openxmlformats.org/officeDocument/2006/relationships/slideLayout" Target="../slideLayouts/slideLayout88.xml"/><Relationship Id="rId111" Type="http://schemas.openxmlformats.org/officeDocument/2006/relationships/slideLayout" Target="../slideLayouts/slideLayout111.xml"/><Relationship Id="rId15" Type="http://schemas.openxmlformats.org/officeDocument/2006/relationships/slideLayout" Target="../slideLayouts/slideLayout15.xml"/><Relationship Id="rId36" Type="http://schemas.openxmlformats.org/officeDocument/2006/relationships/slideLayout" Target="../slideLayouts/slideLayout36.xml"/><Relationship Id="rId57" Type="http://schemas.openxmlformats.org/officeDocument/2006/relationships/slideLayout" Target="../slideLayouts/slideLayout57.xml"/><Relationship Id="rId106" Type="http://schemas.openxmlformats.org/officeDocument/2006/relationships/slideLayout" Target="../slideLayouts/slideLayout106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52" Type="http://schemas.openxmlformats.org/officeDocument/2006/relationships/slideLayout" Target="../slideLayouts/slideLayout52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94" Type="http://schemas.openxmlformats.org/officeDocument/2006/relationships/slideLayout" Target="../slideLayouts/slideLayout94.xml"/><Relationship Id="rId99" Type="http://schemas.openxmlformats.org/officeDocument/2006/relationships/slideLayout" Target="../slideLayouts/slideLayout99.xml"/><Relationship Id="rId101" Type="http://schemas.openxmlformats.org/officeDocument/2006/relationships/slideLayout" Target="../slideLayouts/slideLayout101.xml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42.xml"/><Relationship Id="rId117" Type="http://schemas.openxmlformats.org/officeDocument/2006/relationships/theme" Target="../theme/theme2.xml"/><Relationship Id="rId21" Type="http://schemas.openxmlformats.org/officeDocument/2006/relationships/slideLayout" Target="../slideLayouts/slideLayout137.xml"/><Relationship Id="rId42" Type="http://schemas.openxmlformats.org/officeDocument/2006/relationships/slideLayout" Target="../slideLayouts/slideLayout158.xml"/><Relationship Id="rId47" Type="http://schemas.openxmlformats.org/officeDocument/2006/relationships/slideLayout" Target="../slideLayouts/slideLayout163.xml"/><Relationship Id="rId63" Type="http://schemas.openxmlformats.org/officeDocument/2006/relationships/slideLayout" Target="../slideLayouts/slideLayout179.xml"/><Relationship Id="rId68" Type="http://schemas.openxmlformats.org/officeDocument/2006/relationships/slideLayout" Target="../slideLayouts/slideLayout184.xml"/><Relationship Id="rId84" Type="http://schemas.openxmlformats.org/officeDocument/2006/relationships/slideLayout" Target="../slideLayouts/slideLayout200.xml"/><Relationship Id="rId89" Type="http://schemas.openxmlformats.org/officeDocument/2006/relationships/slideLayout" Target="../slideLayouts/slideLayout205.xml"/><Relationship Id="rId112" Type="http://schemas.openxmlformats.org/officeDocument/2006/relationships/slideLayout" Target="../slideLayouts/slideLayout228.xml"/><Relationship Id="rId16" Type="http://schemas.openxmlformats.org/officeDocument/2006/relationships/slideLayout" Target="../slideLayouts/slideLayout132.xml"/><Relationship Id="rId107" Type="http://schemas.openxmlformats.org/officeDocument/2006/relationships/slideLayout" Target="../slideLayouts/slideLayout223.xml"/><Relationship Id="rId11" Type="http://schemas.openxmlformats.org/officeDocument/2006/relationships/slideLayout" Target="../slideLayouts/slideLayout127.xml"/><Relationship Id="rId32" Type="http://schemas.openxmlformats.org/officeDocument/2006/relationships/slideLayout" Target="../slideLayouts/slideLayout148.xml"/><Relationship Id="rId37" Type="http://schemas.openxmlformats.org/officeDocument/2006/relationships/slideLayout" Target="../slideLayouts/slideLayout153.xml"/><Relationship Id="rId53" Type="http://schemas.openxmlformats.org/officeDocument/2006/relationships/slideLayout" Target="../slideLayouts/slideLayout169.xml"/><Relationship Id="rId58" Type="http://schemas.openxmlformats.org/officeDocument/2006/relationships/slideLayout" Target="../slideLayouts/slideLayout174.xml"/><Relationship Id="rId74" Type="http://schemas.openxmlformats.org/officeDocument/2006/relationships/slideLayout" Target="../slideLayouts/slideLayout190.xml"/><Relationship Id="rId79" Type="http://schemas.openxmlformats.org/officeDocument/2006/relationships/slideLayout" Target="../slideLayouts/slideLayout195.xml"/><Relationship Id="rId102" Type="http://schemas.openxmlformats.org/officeDocument/2006/relationships/slideLayout" Target="../slideLayouts/slideLayout218.xml"/><Relationship Id="rId5" Type="http://schemas.openxmlformats.org/officeDocument/2006/relationships/slideLayout" Target="../slideLayouts/slideLayout121.xml"/><Relationship Id="rId90" Type="http://schemas.openxmlformats.org/officeDocument/2006/relationships/slideLayout" Target="../slideLayouts/slideLayout206.xml"/><Relationship Id="rId95" Type="http://schemas.openxmlformats.org/officeDocument/2006/relationships/slideLayout" Target="../slideLayouts/slideLayout211.xml"/><Relationship Id="rId22" Type="http://schemas.openxmlformats.org/officeDocument/2006/relationships/slideLayout" Target="../slideLayouts/slideLayout138.xml"/><Relationship Id="rId27" Type="http://schemas.openxmlformats.org/officeDocument/2006/relationships/slideLayout" Target="../slideLayouts/slideLayout143.xml"/><Relationship Id="rId43" Type="http://schemas.openxmlformats.org/officeDocument/2006/relationships/slideLayout" Target="../slideLayouts/slideLayout159.xml"/><Relationship Id="rId48" Type="http://schemas.openxmlformats.org/officeDocument/2006/relationships/slideLayout" Target="../slideLayouts/slideLayout164.xml"/><Relationship Id="rId64" Type="http://schemas.openxmlformats.org/officeDocument/2006/relationships/slideLayout" Target="../slideLayouts/slideLayout180.xml"/><Relationship Id="rId69" Type="http://schemas.openxmlformats.org/officeDocument/2006/relationships/slideLayout" Target="../slideLayouts/slideLayout185.xml"/><Relationship Id="rId113" Type="http://schemas.openxmlformats.org/officeDocument/2006/relationships/slideLayout" Target="../slideLayouts/slideLayout229.xml"/><Relationship Id="rId118" Type="http://schemas.openxmlformats.org/officeDocument/2006/relationships/tags" Target="../tags/tag16.xml"/><Relationship Id="rId80" Type="http://schemas.openxmlformats.org/officeDocument/2006/relationships/slideLayout" Target="../slideLayouts/slideLayout196.xml"/><Relationship Id="rId85" Type="http://schemas.openxmlformats.org/officeDocument/2006/relationships/slideLayout" Target="../slideLayouts/slideLayout201.xml"/><Relationship Id="rId12" Type="http://schemas.openxmlformats.org/officeDocument/2006/relationships/slideLayout" Target="../slideLayouts/slideLayout128.xml"/><Relationship Id="rId17" Type="http://schemas.openxmlformats.org/officeDocument/2006/relationships/slideLayout" Target="../slideLayouts/slideLayout133.xml"/><Relationship Id="rId33" Type="http://schemas.openxmlformats.org/officeDocument/2006/relationships/slideLayout" Target="../slideLayouts/slideLayout149.xml"/><Relationship Id="rId38" Type="http://schemas.openxmlformats.org/officeDocument/2006/relationships/slideLayout" Target="../slideLayouts/slideLayout154.xml"/><Relationship Id="rId59" Type="http://schemas.openxmlformats.org/officeDocument/2006/relationships/slideLayout" Target="../slideLayouts/slideLayout175.xml"/><Relationship Id="rId103" Type="http://schemas.openxmlformats.org/officeDocument/2006/relationships/slideLayout" Target="../slideLayouts/slideLayout219.xml"/><Relationship Id="rId108" Type="http://schemas.openxmlformats.org/officeDocument/2006/relationships/slideLayout" Target="../slideLayouts/slideLayout224.xml"/><Relationship Id="rId54" Type="http://schemas.openxmlformats.org/officeDocument/2006/relationships/slideLayout" Target="../slideLayouts/slideLayout170.xml"/><Relationship Id="rId70" Type="http://schemas.openxmlformats.org/officeDocument/2006/relationships/slideLayout" Target="../slideLayouts/slideLayout186.xml"/><Relationship Id="rId75" Type="http://schemas.openxmlformats.org/officeDocument/2006/relationships/slideLayout" Target="../slideLayouts/slideLayout191.xml"/><Relationship Id="rId91" Type="http://schemas.openxmlformats.org/officeDocument/2006/relationships/slideLayout" Target="../slideLayouts/slideLayout207.xml"/><Relationship Id="rId96" Type="http://schemas.openxmlformats.org/officeDocument/2006/relationships/slideLayout" Target="../slideLayouts/slideLayout212.xml"/><Relationship Id="rId1" Type="http://schemas.openxmlformats.org/officeDocument/2006/relationships/slideLayout" Target="../slideLayouts/slideLayout117.xml"/><Relationship Id="rId6" Type="http://schemas.openxmlformats.org/officeDocument/2006/relationships/slideLayout" Target="../slideLayouts/slideLayout122.xml"/><Relationship Id="rId23" Type="http://schemas.openxmlformats.org/officeDocument/2006/relationships/slideLayout" Target="../slideLayouts/slideLayout139.xml"/><Relationship Id="rId28" Type="http://schemas.openxmlformats.org/officeDocument/2006/relationships/slideLayout" Target="../slideLayouts/slideLayout144.xml"/><Relationship Id="rId49" Type="http://schemas.openxmlformats.org/officeDocument/2006/relationships/slideLayout" Target="../slideLayouts/slideLayout165.xml"/><Relationship Id="rId114" Type="http://schemas.openxmlformats.org/officeDocument/2006/relationships/slideLayout" Target="../slideLayouts/slideLayout230.xml"/><Relationship Id="rId119" Type="http://schemas.openxmlformats.org/officeDocument/2006/relationships/oleObject" Target="../embeddings/oleObject14.bin"/><Relationship Id="rId44" Type="http://schemas.openxmlformats.org/officeDocument/2006/relationships/slideLayout" Target="../slideLayouts/slideLayout160.xml"/><Relationship Id="rId60" Type="http://schemas.openxmlformats.org/officeDocument/2006/relationships/slideLayout" Target="../slideLayouts/slideLayout176.xml"/><Relationship Id="rId65" Type="http://schemas.openxmlformats.org/officeDocument/2006/relationships/slideLayout" Target="../slideLayouts/slideLayout181.xml"/><Relationship Id="rId81" Type="http://schemas.openxmlformats.org/officeDocument/2006/relationships/slideLayout" Target="../slideLayouts/slideLayout197.xml"/><Relationship Id="rId86" Type="http://schemas.openxmlformats.org/officeDocument/2006/relationships/slideLayout" Target="../slideLayouts/slideLayout202.xml"/><Relationship Id="rId4" Type="http://schemas.openxmlformats.org/officeDocument/2006/relationships/slideLayout" Target="../slideLayouts/slideLayout120.xml"/><Relationship Id="rId9" Type="http://schemas.openxmlformats.org/officeDocument/2006/relationships/slideLayout" Target="../slideLayouts/slideLayout125.xml"/><Relationship Id="rId13" Type="http://schemas.openxmlformats.org/officeDocument/2006/relationships/slideLayout" Target="../slideLayouts/slideLayout129.xml"/><Relationship Id="rId18" Type="http://schemas.openxmlformats.org/officeDocument/2006/relationships/slideLayout" Target="../slideLayouts/slideLayout134.xml"/><Relationship Id="rId39" Type="http://schemas.openxmlformats.org/officeDocument/2006/relationships/slideLayout" Target="../slideLayouts/slideLayout155.xml"/><Relationship Id="rId109" Type="http://schemas.openxmlformats.org/officeDocument/2006/relationships/slideLayout" Target="../slideLayouts/slideLayout225.xml"/><Relationship Id="rId34" Type="http://schemas.openxmlformats.org/officeDocument/2006/relationships/slideLayout" Target="../slideLayouts/slideLayout150.xml"/><Relationship Id="rId50" Type="http://schemas.openxmlformats.org/officeDocument/2006/relationships/slideLayout" Target="../slideLayouts/slideLayout166.xml"/><Relationship Id="rId55" Type="http://schemas.openxmlformats.org/officeDocument/2006/relationships/slideLayout" Target="../slideLayouts/slideLayout171.xml"/><Relationship Id="rId76" Type="http://schemas.openxmlformats.org/officeDocument/2006/relationships/slideLayout" Target="../slideLayouts/slideLayout192.xml"/><Relationship Id="rId97" Type="http://schemas.openxmlformats.org/officeDocument/2006/relationships/slideLayout" Target="../slideLayouts/slideLayout213.xml"/><Relationship Id="rId104" Type="http://schemas.openxmlformats.org/officeDocument/2006/relationships/slideLayout" Target="../slideLayouts/slideLayout220.xml"/><Relationship Id="rId120" Type="http://schemas.openxmlformats.org/officeDocument/2006/relationships/image" Target="../media/image1.emf"/><Relationship Id="rId7" Type="http://schemas.openxmlformats.org/officeDocument/2006/relationships/slideLayout" Target="../slideLayouts/slideLayout123.xml"/><Relationship Id="rId71" Type="http://schemas.openxmlformats.org/officeDocument/2006/relationships/slideLayout" Target="../slideLayouts/slideLayout187.xml"/><Relationship Id="rId92" Type="http://schemas.openxmlformats.org/officeDocument/2006/relationships/slideLayout" Target="../slideLayouts/slideLayout208.xml"/><Relationship Id="rId2" Type="http://schemas.openxmlformats.org/officeDocument/2006/relationships/slideLayout" Target="../slideLayouts/slideLayout118.xml"/><Relationship Id="rId29" Type="http://schemas.openxmlformats.org/officeDocument/2006/relationships/slideLayout" Target="../slideLayouts/slideLayout145.xml"/><Relationship Id="rId24" Type="http://schemas.openxmlformats.org/officeDocument/2006/relationships/slideLayout" Target="../slideLayouts/slideLayout140.xml"/><Relationship Id="rId40" Type="http://schemas.openxmlformats.org/officeDocument/2006/relationships/slideLayout" Target="../slideLayouts/slideLayout156.xml"/><Relationship Id="rId45" Type="http://schemas.openxmlformats.org/officeDocument/2006/relationships/slideLayout" Target="../slideLayouts/slideLayout161.xml"/><Relationship Id="rId66" Type="http://schemas.openxmlformats.org/officeDocument/2006/relationships/slideLayout" Target="../slideLayouts/slideLayout182.xml"/><Relationship Id="rId87" Type="http://schemas.openxmlformats.org/officeDocument/2006/relationships/slideLayout" Target="../slideLayouts/slideLayout203.xml"/><Relationship Id="rId110" Type="http://schemas.openxmlformats.org/officeDocument/2006/relationships/slideLayout" Target="../slideLayouts/slideLayout226.xml"/><Relationship Id="rId115" Type="http://schemas.openxmlformats.org/officeDocument/2006/relationships/slideLayout" Target="../slideLayouts/slideLayout231.xml"/><Relationship Id="rId61" Type="http://schemas.openxmlformats.org/officeDocument/2006/relationships/slideLayout" Target="../slideLayouts/slideLayout177.xml"/><Relationship Id="rId82" Type="http://schemas.openxmlformats.org/officeDocument/2006/relationships/slideLayout" Target="../slideLayouts/slideLayout198.xml"/><Relationship Id="rId19" Type="http://schemas.openxmlformats.org/officeDocument/2006/relationships/slideLayout" Target="../slideLayouts/slideLayout135.xml"/><Relationship Id="rId14" Type="http://schemas.openxmlformats.org/officeDocument/2006/relationships/slideLayout" Target="../slideLayouts/slideLayout130.xml"/><Relationship Id="rId30" Type="http://schemas.openxmlformats.org/officeDocument/2006/relationships/slideLayout" Target="../slideLayouts/slideLayout146.xml"/><Relationship Id="rId35" Type="http://schemas.openxmlformats.org/officeDocument/2006/relationships/slideLayout" Target="../slideLayouts/slideLayout151.xml"/><Relationship Id="rId56" Type="http://schemas.openxmlformats.org/officeDocument/2006/relationships/slideLayout" Target="../slideLayouts/slideLayout172.xml"/><Relationship Id="rId77" Type="http://schemas.openxmlformats.org/officeDocument/2006/relationships/slideLayout" Target="../slideLayouts/slideLayout193.xml"/><Relationship Id="rId100" Type="http://schemas.openxmlformats.org/officeDocument/2006/relationships/slideLayout" Target="../slideLayouts/slideLayout216.xml"/><Relationship Id="rId105" Type="http://schemas.openxmlformats.org/officeDocument/2006/relationships/slideLayout" Target="../slideLayouts/slideLayout221.xml"/><Relationship Id="rId8" Type="http://schemas.openxmlformats.org/officeDocument/2006/relationships/slideLayout" Target="../slideLayouts/slideLayout124.xml"/><Relationship Id="rId51" Type="http://schemas.openxmlformats.org/officeDocument/2006/relationships/slideLayout" Target="../slideLayouts/slideLayout167.xml"/><Relationship Id="rId72" Type="http://schemas.openxmlformats.org/officeDocument/2006/relationships/slideLayout" Target="../slideLayouts/slideLayout188.xml"/><Relationship Id="rId93" Type="http://schemas.openxmlformats.org/officeDocument/2006/relationships/slideLayout" Target="../slideLayouts/slideLayout209.xml"/><Relationship Id="rId98" Type="http://schemas.openxmlformats.org/officeDocument/2006/relationships/slideLayout" Target="../slideLayouts/slideLayout214.xml"/><Relationship Id="rId121" Type="http://schemas.openxmlformats.org/officeDocument/2006/relationships/image" Target="../media/image2.png"/><Relationship Id="rId3" Type="http://schemas.openxmlformats.org/officeDocument/2006/relationships/slideLayout" Target="../slideLayouts/slideLayout119.xml"/><Relationship Id="rId25" Type="http://schemas.openxmlformats.org/officeDocument/2006/relationships/slideLayout" Target="../slideLayouts/slideLayout141.xml"/><Relationship Id="rId46" Type="http://schemas.openxmlformats.org/officeDocument/2006/relationships/slideLayout" Target="../slideLayouts/slideLayout162.xml"/><Relationship Id="rId67" Type="http://schemas.openxmlformats.org/officeDocument/2006/relationships/slideLayout" Target="../slideLayouts/slideLayout183.xml"/><Relationship Id="rId116" Type="http://schemas.openxmlformats.org/officeDocument/2006/relationships/slideLayout" Target="../slideLayouts/slideLayout232.xml"/><Relationship Id="rId20" Type="http://schemas.openxmlformats.org/officeDocument/2006/relationships/slideLayout" Target="../slideLayouts/slideLayout136.xml"/><Relationship Id="rId41" Type="http://schemas.openxmlformats.org/officeDocument/2006/relationships/slideLayout" Target="../slideLayouts/slideLayout157.xml"/><Relationship Id="rId62" Type="http://schemas.openxmlformats.org/officeDocument/2006/relationships/slideLayout" Target="../slideLayouts/slideLayout178.xml"/><Relationship Id="rId83" Type="http://schemas.openxmlformats.org/officeDocument/2006/relationships/slideLayout" Target="../slideLayouts/slideLayout199.xml"/><Relationship Id="rId88" Type="http://schemas.openxmlformats.org/officeDocument/2006/relationships/slideLayout" Target="../slideLayouts/slideLayout204.xml"/><Relationship Id="rId111" Type="http://schemas.openxmlformats.org/officeDocument/2006/relationships/slideLayout" Target="../slideLayouts/slideLayout227.xml"/><Relationship Id="rId15" Type="http://schemas.openxmlformats.org/officeDocument/2006/relationships/slideLayout" Target="../slideLayouts/slideLayout131.xml"/><Relationship Id="rId36" Type="http://schemas.openxmlformats.org/officeDocument/2006/relationships/slideLayout" Target="../slideLayouts/slideLayout152.xml"/><Relationship Id="rId57" Type="http://schemas.openxmlformats.org/officeDocument/2006/relationships/slideLayout" Target="../slideLayouts/slideLayout173.xml"/><Relationship Id="rId106" Type="http://schemas.openxmlformats.org/officeDocument/2006/relationships/slideLayout" Target="../slideLayouts/slideLayout222.xml"/><Relationship Id="rId10" Type="http://schemas.openxmlformats.org/officeDocument/2006/relationships/slideLayout" Target="../slideLayouts/slideLayout126.xml"/><Relationship Id="rId31" Type="http://schemas.openxmlformats.org/officeDocument/2006/relationships/slideLayout" Target="../slideLayouts/slideLayout147.xml"/><Relationship Id="rId52" Type="http://schemas.openxmlformats.org/officeDocument/2006/relationships/slideLayout" Target="../slideLayouts/slideLayout168.xml"/><Relationship Id="rId73" Type="http://schemas.openxmlformats.org/officeDocument/2006/relationships/slideLayout" Target="../slideLayouts/slideLayout189.xml"/><Relationship Id="rId78" Type="http://schemas.openxmlformats.org/officeDocument/2006/relationships/slideLayout" Target="../slideLayouts/slideLayout194.xml"/><Relationship Id="rId94" Type="http://schemas.openxmlformats.org/officeDocument/2006/relationships/slideLayout" Target="../slideLayouts/slideLayout210.xml"/><Relationship Id="rId99" Type="http://schemas.openxmlformats.org/officeDocument/2006/relationships/slideLayout" Target="../slideLayouts/slideLayout215.xml"/><Relationship Id="rId101" Type="http://schemas.openxmlformats.org/officeDocument/2006/relationships/slideLayout" Target="../slideLayouts/slideLayout21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18"/>
            </p:custDataLst>
            <p:extLst>
              <p:ext uri="{D42A27DB-BD31-4B8C-83A1-F6EECF244321}">
                <p14:modId xmlns:p14="http://schemas.microsoft.com/office/powerpoint/2010/main" val="16242658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9" imgW="353" imgH="353" progId="TCLayout.ActiveDocument.1">
                  <p:embed/>
                </p:oleObj>
              </mc:Choice>
              <mc:Fallback>
                <p:oleObj name="think-cell Slide" r:id="rId119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 5"/>
          <p:cNvSpPr txBox="1">
            <a:spLocks/>
          </p:cNvSpPr>
          <p:nvPr/>
        </p:nvSpPr>
        <p:spPr>
          <a:xfrm>
            <a:off x="2878763" y="6442008"/>
            <a:ext cx="374307" cy="328295"/>
          </a:xfrm>
          <a:prstGeom prst="rect">
            <a:avLst/>
          </a:prstGeom>
        </p:spPr>
        <p:txBody>
          <a:bodyPr vert="horz" wrap="none" lIns="121920" tIns="60960" rIns="121920" bIns="6096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en-US" sz="1200" b="0" i="0">
              <a:solidFill>
                <a:schemeClr val="accent1">
                  <a:alpha val="50000"/>
                </a:schemeClr>
              </a:solidFill>
              <a:latin typeface="Roboto Condensed Light" charset="0"/>
              <a:ea typeface="Roboto Condensed Light" charset="0"/>
              <a:cs typeface="Roboto Condensed Light" charset="0"/>
            </a:endParaRP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914400" y="432001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da-DK" noProof="0"/>
              <a:t>Klik for at redigere overskrift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1"/>
          </p:nvPr>
        </p:nvSpPr>
        <p:spPr>
          <a:xfrm>
            <a:off x="914400" y="1736726"/>
            <a:ext cx="10363200" cy="43211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noProof="0"/>
              <a:t>Punkt niv 1 (str. 18)</a:t>
            </a:r>
          </a:p>
          <a:p>
            <a:pPr lvl="1"/>
            <a:r>
              <a:rPr lang="da-DK" noProof="0"/>
              <a:t>Punkt niv 2</a:t>
            </a:r>
          </a:p>
          <a:p>
            <a:pPr lvl="2"/>
            <a:r>
              <a:rPr lang="da-DK" noProof="0"/>
              <a:t>Punkt niv 3</a:t>
            </a:r>
          </a:p>
          <a:p>
            <a:pPr lvl="3"/>
            <a:r>
              <a:rPr lang="da-DK" noProof="0"/>
              <a:t>Punkt niv 4</a:t>
            </a:r>
          </a:p>
          <a:p>
            <a:pPr lvl="4"/>
            <a:r>
              <a:rPr lang="da-DK" noProof="0"/>
              <a:t>Punkt niv 5</a:t>
            </a:r>
          </a:p>
        </p:txBody>
      </p:sp>
      <p:pic>
        <p:nvPicPr>
          <p:cNvPr id="2" name="Billede 1"/>
          <p:cNvPicPr>
            <a:picLocks noChangeAspect="1"/>
          </p:cNvPicPr>
          <p:nvPr/>
        </p:nvPicPr>
        <p:blipFill>
          <a:blip r:embed="rId1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6" name="Rectangle 7"/>
          <p:cNvSpPr/>
          <p:nvPr/>
        </p:nvSpPr>
        <p:spPr>
          <a:xfrm>
            <a:off x="0" y="0"/>
            <a:ext cx="12192000" cy="180000"/>
          </a:xfrm>
          <a:prstGeom prst="rect">
            <a:avLst/>
          </a:prstGeom>
          <a:solidFill>
            <a:srgbClr val="16457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9" name="Pladsholder til slidenummer 3">
            <a:extLst>
              <a:ext uri="{FF2B5EF4-FFF2-40B4-BE49-F238E27FC236}">
                <a16:creationId xmlns:a16="http://schemas.microsoft.com/office/drawing/2014/main" id="{261F9F15-9FEF-B744-99C3-B8E898C689AE}"/>
              </a:ext>
            </a:extLst>
          </p:cNvPr>
          <p:cNvSpPr txBox="1">
            <a:spLocks/>
          </p:cNvSpPr>
          <p:nvPr userDrawn="1"/>
        </p:nvSpPr>
        <p:spPr>
          <a:xfrm>
            <a:off x="243426" y="6048260"/>
            <a:ext cx="670974" cy="6850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kern="1200">
                <a:solidFill>
                  <a:srgbClr val="446B8F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29299A6-A9F0-954F-A0FC-2793106C1BD3}" type="slidenum">
              <a:rPr lang="da-DK" sz="1000" smtClean="0"/>
              <a:pPr/>
              <a:t>‹#›</a:t>
            </a:fld>
            <a:endParaRPr lang="da-DK" sz="1000"/>
          </a:p>
        </p:txBody>
      </p:sp>
    </p:spTree>
    <p:extLst>
      <p:ext uri="{BB962C8B-B14F-4D97-AF65-F5344CB8AC3E}">
        <p14:creationId xmlns:p14="http://schemas.microsoft.com/office/powerpoint/2010/main" val="20592621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  <p:sldLayoutId id="2147483709" r:id="rId49"/>
    <p:sldLayoutId id="2147483710" r:id="rId50"/>
    <p:sldLayoutId id="2147483711" r:id="rId51"/>
    <p:sldLayoutId id="2147483712" r:id="rId52"/>
    <p:sldLayoutId id="2147483713" r:id="rId53"/>
    <p:sldLayoutId id="2147483714" r:id="rId54"/>
    <p:sldLayoutId id="2147483715" r:id="rId55"/>
    <p:sldLayoutId id="2147483716" r:id="rId56"/>
    <p:sldLayoutId id="2147483717" r:id="rId57"/>
    <p:sldLayoutId id="2147483718" r:id="rId58"/>
    <p:sldLayoutId id="2147483719" r:id="rId59"/>
    <p:sldLayoutId id="2147483720" r:id="rId60"/>
    <p:sldLayoutId id="2147483721" r:id="rId61"/>
    <p:sldLayoutId id="2147483722" r:id="rId62"/>
    <p:sldLayoutId id="2147483723" r:id="rId63"/>
    <p:sldLayoutId id="2147483724" r:id="rId64"/>
    <p:sldLayoutId id="2147483725" r:id="rId65"/>
    <p:sldLayoutId id="2147483726" r:id="rId66"/>
    <p:sldLayoutId id="2147483727" r:id="rId67"/>
    <p:sldLayoutId id="2147483728" r:id="rId68"/>
    <p:sldLayoutId id="2147483729" r:id="rId69"/>
    <p:sldLayoutId id="2147483730" r:id="rId70"/>
    <p:sldLayoutId id="2147483731" r:id="rId71"/>
    <p:sldLayoutId id="2147483732" r:id="rId72"/>
    <p:sldLayoutId id="2147483733" r:id="rId73"/>
    <p:sldLayoutId id="2147483734" r:id="rId74"/>
    <p:sldLayoutId id="2147483735" r:id="rId75"/>
    <p:sldLayoutId id="2147483736" r:id="rId76"/>
    <p:sldLayoutId id="2147483737" r:id="rId77"/>
    <p:sldLayoutId id="2147483738" r:id="rId78"/>
    <p:sldLayoutId id="2147483739" r:id="rId79"/>
    <p:sldLayoutId id="2147483740" r:id="rId80"/>
    <p:sldLayoutId id="2147483741" r:id="rId81"/>
    <p:sldLayoutId id="2147483742" r:id="rId82"/>
    <p:sldLayoutId id="2147483743" r:id="rId83"/>
    <p:sldLayoutId id="2147483744" r:id="rId84"/>
    <p:sldLayoutId id="2147483745" r:id="rId85"/>
    <p:sldLayoutId id="2147483746" r:id="rId86"/>
    <p:sldLayoutId id="2147483747" r:id="rId87"/>
    <p:sldLayoutId id="2147483748" r:id="rId88"/>
    <p:sldLayoutId id="2147483749" r:id="rId89"/>
    <p:sldLayoutId id="2147483750" r:id="rId90"/>
    <p:sldLayoutId id="2147483751" r:id="rId91"/>
    <p:sldLayoutId id="2147483752" r:id="rId92"/>
    <p:sldLayoutId id="2147483753" r:id="rId93"/>
    <p:sldLayoutId id="2147483754" r:id="rId94"/>
    <p:sldLayoutId id="2147483755" r:id="rId95"/>
    <p:sldLayoutId id="2147483756" r:id="rId96"/>
    <p:sldLayoutId id="2147483757" r:id="rId97"/>
    <p:sldLayoutId id="2147483758" r:id="rId98"/>
    <p:sldLayoutId id="2147483759" r:id="rId99"/>
    <p:sldLayoutId id="2147483760" r:id="rId100"/>
    <p:sldLayoutId id="2147483761" r:id="rId101"/>
    <p:sldLayoutId id="2147483762" r:id="rId102"/>
    <p:sldLayoutId id="2147483763" r:id="rId103"/>
    <p:sldLayoutId id="2147483764" r:id="rId104"/>
    <p:sldLayoutId id="2147483765" r:id="rId105"/>
    <p:sldLayoutId id="2147483766" r:id="rId106"/>
    <p:sldLayoutId id="2147483767" r:id="rId107"/>
    <p:sldLayoutId id="2147483768" r:id="rId108"/>
    <p:sldLayoutId id="2147483769" r:id="rId109"/>
    <p:sldLayoutId id="2147483770" r:id="rId110"/>
    <p:sldLayoutId id="2147483771" r:id="rId111"/>
    <p:sldLayoutId id="2147483772" r:id="rId112"/>
    <p:sldLayoutId id="2147483773" r:id="rId113"/>
    <p:sldLayoutId id="2147483774" r:id="rId114"/>
    <p:sldLayoutId id="2147483775" r:id="rId115"/>
    <p:sldLayoutId id="2147483776" r:id="rId116"/>
  </p:sldLayoutIdLst>
  <p:hf hdr="0"/>
  <p:txStyles>
    <p:titleStyle>
      <a:lvl1pPr algn="ctr" defTabSz="914423" rtl="0" eaLnBrk="1" latinLnBrk="0" hangingPunct="1">
        <a:lnSpc>
          <a:spcPct val="90000"/>
        </a:lnSpc>
        <a:spcBef>
          <a:spcPct val="0"/>
        </a:spcBef>
        <a:buNone/>
        <a:defRPr sz="4000" b="1" kern="1200">
          <a:solidFill>
            <a:schemeClr val="tx2"/>
          </a:solidFill>
          <a:latin typeface="+mj-lt"/>
          <a:ea typeface="Open Sans Light" panose="020B0306030504020204" pitchFamily="34" charset="0"/>
          <a:cs typeface="Open Sans Light" panose="020B0306030504020204" pitchFamily="34" charset="0"/>
        </a:defRPr>
      </a:lvl1pPr>
    </p:titleStyle>
    <p:bodyStyle>
      <a:lvl1pPr marL="342917" indent="-342917" algn="l" defTabSz="91442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 baseline="0">
          <a:solidFill>
            <a:schemeClr val="tx2"/>
          </a:solidFill>
          <a:latin typeface="+mn-lt"/>
          <a:ea typeface="Open Sans Light" panose="020B0306030504020204" pitchFamily="34" charset="0"/>
          <a:cs typeface="Open Sans Light" panose="020B0306030504020204" pitchFamily="34" charset="0"/>
        </a:defRPr>
      </a:lvl1pPr>
      <a:lvl2pPr marL="685818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 baseline="0">
          <a:solidFill>
            <a:schemeClr val="tx2"/>
          </a:solidFill>
          <a:latin typeface="+mn-lt"/>
          <a:ea typeface="Open Sans Light" panose="020B0306030504020204" pitchFamily="34" charset="0"/>
          <a:cs typeface="Open Sans Light" panose="020B0306030504020204" pitchFamily="34" charset="0"/>
        </a:defRPr>
      </a:lvl2pPr>
      <a:lvl3pPr marL="1143028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Open Sans Light" panose="020B0306030504020204" pitchFamily="34" charset="0"/>
          <a:cs typeface="Open Sans Light" panose="020B0306030504020204" pitchFamily="34" charset="0"/>
        </a:defRPr>
      </a:lvl3pPr>
      <a:lvl4pPr marL="1600240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Open Sans Light" panose="020B0306030504020204" pitchFamily="34" charset="0"/>
          <a:cs typeface="Open Sans Light" panose="020B0306030504020204" pitchFamily="34" charset="0"/>
        </a:defRPr>
      </a:lvl4pPr>
      <a:lvl5pPr marL="2057452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Open Sans Light" panose="020B0306030504020204" pitchFamily="34" charset="0"/>
          <a:cs typeface="Open Sans Light" panose="020B0306030504020204" pitchFamily="34" charset="0"/>
        </a:defRPr>
      </a:lvl5pPr>
      <a:lvl6pPr marL="2514663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75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85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98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12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23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35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45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58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8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80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92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574">
          <p15:clr>
            <a:srgbClr val="F26B43"/>
          </p15:clr>
        </p15:guide>
        <p15:guide id="4" pos="7106">
          <p15:clr>
            <a:srgbClr val="F26B43"/>
          </p15:clr>
        </p15:guide>
        <p15:guide id="5" orient="horz" pos="3816">
          <p15:clr>
            <a:srgbClr val="F26B43"/>
          </p15:clr>
        </p15:guide>
        <p15:guide id="7" orient="horz" pos="1094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18"/>
            </p:custDataLst>
            <p:extLst>
              <p:ext uri="{D42A27DB-BD31-4B8C-83A1-F6EECF244321}">
                <p14:modId xmlns:p14="http://schemas.microsoft.com/office/powerpoint/2010/main" val="42148495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9" imgW="353" imgH="353" progId="TCLayout.ActiveDocument.1">
                  <p:embed/>
                </p:oleObj>
              </mc:Choice>
              <mc:Fallback>
                <p:oleObj name="think-cell Slide" r:id="rId119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 5"/>
          <p:cNvSpPr txBox="1">
            <a:spLocks/>
          </p:cNvSpPr>
          <p:nvPr/>
        </p:nvSpPr>
        <p:spPr>
          <a:xfrm>
            <a:off x="2878763" y="6442008"/>
            <a:ext cx="374307" cy="328295"/>
          </a:xfrm>
          <a:prstGeom prst="rect">
            <a:avLst/>
          </a:prstGeom>
        </p:spPr>
        <p:txBody>
          <a:bodyPr vert="horz" wrap="none" lIns="121920" tIns="60960" rIns="121920" bIns="6096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en-US" sz="1200" b="0" i="0">
              <a:solidFill>
                <a:schemeClr val="accent1">
                  <a:alpha val="50000"/>
                </a:schemeClr>
              </a:solidFill>
              <a:latin typeface="Roboto Condensed Light" charset="0"/>
              <a:ea typeface="Roboto Condensed Light" charset="0"/>
              <a:cs typeface="Roboto Condensed Light" charset="0"/>
            </a:endParaRP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914400" y="432001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da-DK" noProof="0"/>
              <a:t>Klik for at redigere overskrift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1"/>
          </p:nvPr>
        </p:nvSpPr>
        <p:spPr>
          <a:xfrm>
            <a:off x="914400" y="1736726"/>
            <a:ext cx="10363200" cy="43211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noProof="0"/>
              <a:t>Punkt niv 1 (str. 18)</a:t>
            </a:r>
          </a:p>
          <a:p>
            <a:pPr lvl="1"/>
            <a:r>
              <a:rPr lang="da-DK" noProof="0"/>
              <a:t>Punkt niv 2</a:t>
            </a:r>
          </a:p>
          <a:p>
            <a:pPr lvl="2"/>
            <a:r>
              <a:rPr lang="da-DK" noProof="0"/>
              <a:t>Punkt niv 3</a:t>
            </a:r>
          </a:p>
          <a:p>
            <a:pPr lvl="3"/>
            <a:r>
              <a:rPr lang="da-DK" noProof="0"/>
              <a:t>Punkt niv 4</a:t>
            </a:r>
          </a:p>
          <a:p>
            <a:pPr lvl="4"/>
            <a:r>
              <a:rPr lang="da-DK" noProof="0"/>
              <a:t>Punkt niv 5</a:t>
            </a:r>
          </a:p>
        </p:txBody>
      </p:sp>
      <p:pic>
        <p:nvPicPr>
          <p:cNvPr id="2" name="Billede 1"/>
          <p:cNvPicPr>
            <a:picLocks noChangeAspect="1"/>
          </p:cNvPicPr>
          <p:nvPr/>
        </p:nvPicPr>
        <p:blipFill>
          <a:blip r:embed="rId1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6" name="Rectangle 7"/>
          <p:cNvSpPr/>
          <p:nvPr/>
        </p:nvSpPr>
        <p:spPr>
          <a:xfrm>
            <a:off x="0" y="0"/>
            <a:ext cx="12192000" cy="180000"/>
          </a:xfrm>
          <a:prstGeom prst="rect">
            <a:avLst/>
          </a:prstGeom>
          <a:solidFill>
            <a:srgbClr val="16457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9" name="Pladsholder til slidenummer 3">
            <a:extLst>
              <a:ext uri="{FF2B5EF4-FFF2-40B4-BE49-F238E27FC236}">
                <a16:creationId xmlns:a16="http://schemas.microsoft.com/office/drawing/2014/main" id="{261F9F15-9FEF-B744-99C3-B8E898C689AE}"/>
              </a:ext>
            </a:extLst>
          </p:cNvPr>
          <p:cNvSpPr txBox="1">
            <a:spLocks/>
          </p:cNvSpPr>
          <p:nvPr userDrawn="1"/>
        </p:nvSpPr>
        <p:spPr>
          <a:xfrm>
            <a:off x="243426" y="6048260"/>
            <a:ext cx="670974" cy="6850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kern="1200">
                <a:solidFill>
                  <a:srgbClr val="446B8F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29299A6-A9F0-954F-A0FC-2793106C1BD3}" type="slidenum">
              <a:rPr lang="da-DK" sz="1000" smtClean="0"/>
              <a:pPr/>
              <a:t>‹#›</a:t>
            </a:fld>
            <a:endParaRPr lang="da-DK" sz="1000"/>
          </a:p>
        </p:txBody>
      </p:sp>
    </p:spTree>
    <p:extLst>
      <p:ext uri="{BB962C8B-B14F-4D97-AF65-F5344CB8AC3E}">
        <p14:creationId xmlns:p14="http://schemas.microsoft.com/office/powerpoint/2010/main" val="41781252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8" r:id="rId1"/>
    <p:sldLayoutId id="2147483779" r:id="rId2"/>
    <p:sldLayoutId id="2147483780" r:id="rId3"/>
    <p:sldLayoutId id="2147483781" r:id="rId4"/>
    <p:sldLayoutId id="2147483782" r:id="rId5"/>
    <p:sldLayoutId id="2147483783" r:id="rId6"/>
    <p:sldLayoutId id="2147483784" r:id="rId7"/>
    <p:sldLayoutId id="2147483785" r:id="rId8"/>
    <p:sldLayoutId id="2147483786" r:id="rId9"/>
    <p:sldLayoutId id="2147483787" r:id="rId10"/>
    <p:sldLayoutId id="2147483788" r:id="rId11"/>
    <p:sldLayoutId id="2147483789" r:id="rId12"/>
    <p:sldLayoutId id="2147483790" r:id="rId13"/>
    <p:sldLayoutId id="2147483791" r:id="rId14"/>
    <p:sldLayoutId id="2147483792" r:id="rId15"/>
    <p:sldLayoutId id="2147483793" r:id="rId16"/>
    <p:sldLayoutId id="2147483794" r:id="rId17"/>
    <p:sldLayoutId id="2147483795" r:id="rId18"/>
    <p:sldLayoutId id="2147483796" r:id="rId19"/>
    <p:sldLayoutId id="2147483797" r:id="rId20"/>
    <p:sldLayoutId id="2147483798" r:id="rId21"/>
    <p:sldLayoutId id="2147483799" r:id="rId22"/>
    <p:sldLayoutId id="2147483800" r:id="rId23"/>
    <p:sldLayoutId id="2147483801" r:id="rId24"/>
    <p:sldLayoutId id="2147483802" r:id="rId25"/>
    <p:sldLayoutId id="2147483803" r:id="rId26"/>
    <p:sldLayoutId id="2147483804" r:id="rId27"/>
    <p:sldLayoutId id="2147483805" r:id="rId28"/>
    <p:sldLayoutId id="2147483806" r:id="rId29"/>
    <p:sldLayoutId id="2147483807" r:id="rId30"/>
    <p:sldLayoutId id="2147483808" r:id="rId31"/>
    <p:sldLayoutId id="2147483809" r:id="rId32"/>
    <p:sldLayoutId id="2147483810" r:id="rId33"/>
    <p:sldLayoutId id="2147483811" r:id="rId34"/>
    <p:sldLayoutId id="2147483812" r:id="rId35"/>
    <p:sldLayoutId id="2147483813" r:id="rId36"/>
    <p:sldLayoutId id="2147483814" r:id="rId37"/>
    <p:sldLayoutId id="2147483815" r:id="rId38"/>
    <p:sldLayoutId id="2147483816" r:id="rId39"/>
    <p:sldLayoutId id="2147483817" r:id="rId40"/>
    <p:sldLayoutId id="2147483818" r:id="rId41"/>
    <p:sldLayoutId id="2147483819" r:id="rId42"/>
    <p:sldLayoutId id="2147483820" r:id="rId43"/>
    <p:sldLayoutId id="2147483821" r:id="rId44"/>
    <p:sldLayoutId id="2147483822" r:id="rId45"/>
    <p:sldLayoutId id="2147483823" r:id="rId46"/>
    <p:sldLayoutId id="2147483824" r:id="rId47"/>
    <p:sldLayoutId id="2147483825" r:id="rId48"/>
    <p:sldLayoutId id="2147483826" r:id="rId49"/>
    <p:sldLayoutId id="2147483827" r:id="rId50"/>
    <p:sldLayoutId id="2147483828" r:id="rId51"/>
    <p:sldLayoutId id="2147483829" r:id="rId52"/>
    <p:sldLayoutId id="2147483830" r:id="rId53"/>
    <p:sldLayoutId id="2147483831" r:id="rId54"/>
    <p:sldLayoutId id="2147483832" r:id="rId55"/>
    <p:sldLayoutId id="2147483833" r:id="rId56"/>
    <p:sldLayoutId id="2147483834" r:id="rId57"/>
    <p:sldLayoutId id="2147483835" r:id="rId58"/>
    <p:sldLayoutId id="2147483836" r:id="rId59"/>
    <p:sldLayoutId id="2147483837" r:id="rId60"/>
    <p:sldLayoutId id="2147483838" r:id="rId61"/>
    <p:sldLayoutId id="2147483839" r:id="rId62"/>
    <p:sldLayoutId id="2147483840" r:id="rId63"/>
    <p:sldLayoutId id="2147483841" r:id="rId64"/>
    <p:sldLayoutId id="2147483842" r:id="rId65"/>
    <p:sldLayoutId id="2147483843" r:id="rId66"/>
    <p:sldLayoutId id="2147483844" r:id="rId67"/>
    <p:sldLayoutId id="2147483845" r:id="rId68"/>
    <p:sldLayoutId id="2147483846" r:id="rId69"/>
    <p:sldLayoutId id="2147483847" r:id="rId70"/>
    <p:sldLayoutId id="2147483848" r:id="rId71"/>
    <p:sldLayoutId id="2147483849" r:id="rId72"/>
    <p:sldLayoutId id="2147483850" r:id="rId73"/>
    <p:sldLayoutId id="2147483851" r:id="rId74"/>
    <p:sldLayoutId id="2147483852" r:id="rId75"/>
    <p:sldLayoutId id="2147483853" r:id="rId76"/>
    <p:sldLayoutId id="2147483854" r:id="rId77"/>
    <p:sldLayoutId id="2147483855" r:id="rId78"/>
    <p:sldLayoutId id="2147483856" r:id="rId79"/>
    <p:sldLayoutId id="2147483857" r:id="rId80"/>
    <p:sldLayoutId id="2147483858" r:id="rId81"/>
    <p:sldLayoutId id="2147483859" r:id="rId82"/>
    <p:sldLayoutId id="2147483860" r:id="rId83"/>
    <p:sldLayoutId id="2147483861" r:id="rId84"/>
    <p:sldLayoutId id="2147483862" r:id="rId85"/>
    <p:sldLayoutId id="2147483863" r:id="rId86"/>
    <p:sldLayoutId id="2147483864" r:id="rId87"/>
    <p:sldLayoutId id="2147483865" r:id="rId88"/>
    <p:sldLayoutId id="2147483866" r:id="rId89"/>
    <p:sldLayoutId id="2147483867" r:id="rId90"/>
    <p:sldLayoutId id="2147483868" r:id="rId91"/>
    <p:sldLayoutId id="2147483869" r:id="rId92"/>
    <p:sldLayoutId id="2147483870" r:id="rId93"/>
    <p:sldLayoutId id="2147483871" r:id="rId94"/>
    <p:sldLayoutId id="2147483872" r:id="rId95"/>
    <p:sldLayoutId id="2147483873" r:id="rId96"/>
    <p:sldLayoutId id="2147483874" r:id="rId97"/>
    <p:sldLayoutId id="2147483875" r:id="rId98"/>
    <p:sldLayoutId id="2147483876" r:id="rId99"/>
    <p:sldLayoutId id="2147483877" r:id="rId100"/>
    <p:sldLayoutId id="2147483878" r:id="rId101"/>
    <p:sldLayoutId id="2147483879" r:id="rId102"/>
    <p:sldLayoutId id="2147483880" r:id="rId103"/>
    <p:sldLayoutId id="2147483881" r:id="rId104"/>
    <p:sldLayoutId id="2147483882" r:id="rId105"/>
    <p:sldLayoutId id="2147483883" r:id="rId106"/>
    <p:sldLayoutId id="2147483884" r:id="rId107"/>
    <p:sldLayoutId id="2147483885" r:id="rId108"/>
    <p:sldLayoutId id="2147483886" r:id="rId109"/>
    <p:sldLayoutId id="2147483887" r:id="rId110"/>
    <p:sldLayoutId id="2147483888" r:id="rId111"/>
    <p:sldLayoutId id="2147483889" r:id="rId112"/>
    <p:sldLayoutId id="2147483890" r:id="rId113"/>
    <p:sldLayoutId id="2147483891" r:id="rId114"/>
    <p:sldLayoutId id="2147483892" r:id="rId115"/>
    <p:sldLayoutId id="2147483893" r:id="rId116"/>
  </p:sldLayoutIdLst>
  <p:hf hdr="0"/>
  <p:txStyles>
    <p:titleStyle>
      <a:lvl1pPr algn="ctr" defTabSz="914423" rtl="0" eaLnBrk="1" latinLnBrk="0" hangingPunct="1">
        <a:lnSpc>
          <a:spcPct val="90000"/>
        </a:lnSpc>
        <a:spcBef>
          <a:spcPct val="0"/>
        </a:spcBef>
        <a:buNone/>
        <a:defRPr sz="4000" b="1" kern="1200">
          <a:solidFill>
            <a:schemeClr val="tx2"/>
          </a:solidFill>
          <a:latin typeface="+mj-lt"/>
          <a:ea typeface="Open Sans Light" panose="020B0306030504020204" pitchFamily="34" charset="0"/>
          <a:cs typeface="Open Sans Light" panose="020B0306030504020204" pitchFamily="34" charset="0"/>
        </a:defRPr>
      </a:lvl1pPr>
    </p:titleStyle>
    <p:bodyStyle>
      <a:lvl1pPr marL="342917" indent="-342917" algn="l" defTabSz="91442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 baseline="0">
          <a:solidFill>
            <a:schemeClr val="tx2"/>
          </a:solidFill>
          <a:latin typeface="+mn-lt"/>
          <a:ea typeface="Open Sans Light" panose="020B0306030504020204" pitchFamily="34" charset="0"/>
          <a:cs typeface="Open Sans Light" panose="020B0306030504020204" pitchFamily="34" charset="0"/>
        </a:defRPr>
      </a:lvl1pPr>
      <a:lvl2pPr marL="685818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 baseline="0">
          <a:solidFill>
            <a:schemeClr val="tx2"/>
          </a:solidFill>
          <a:latin typeface="+mn-lt"/>
          <a:ea typeface="Open Sans Light" panose="020B0306030504020204" pitchFamily="34" charset="0"/>
          <a:cs typeface="Open Sans Light" panose="020B0306030504020204" pitchFamily="34" charset="0"/>
        </a:defRPr>
      </a:lvl2pPr>
      <a:lvl3pPr marL="1143028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Open Sans Light" panose="020B0306030504020204" pitchFamily="34" charset="0"/>
          <a:cs typeface="Open Sans Light" panose="020B0306030504020204" pitchFamily="34" charset="0"/>
        </a:defRPr>
      </a:lvl3pPr>
      <a:lvl4pPr marL="1600240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Open Sans Light" panose="020B0306030504020204" pitchFamily="34" charset="0"/>
          <a:cs typeface="Open Sans Light" panose="020B0306030504020204" pitchFamily="34" charset="0"/>
        </a:defRPr>
      </a:lvl4pPr>
      <a:lvl5pPr marL="2057452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Open Sans Light" panose="020B0306030504020204" pitchFamily="34" charset="0"/>
          <a:cs typeface="Open Sans Light" panose="020B0306030504020204" pitchFamily="34" charset="0"/>
        </a:defRPr>
      </a:lvl5pPr>
      <a:lvl6pPr marL="2514663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75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85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98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12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23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35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45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58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8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80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92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574">
          <p15:clr>
            <a:srgbClr val="F26B43"/>
          </p15:clr>
        </p15:guide>
        <p15:guide id="4" pos="7106">
          <p15:clr>
            <a:srgbClr val="F26B43"/>
          </p15:clr>
        </p15:guide>
        <p15:guide id="5" orient="horz" pos="3816">
          <p15:clr>
            <a:srgbClr val="F26B43"/>
          </p15:clr>
        </p15:guide>
        <p15:guide id="7" orient="horz" pos="109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0.xml"/><Relationship Id="rId6" Type="http://schemas.openxmlformats.org/officeDocument/2006/relationships/image" Target="../media/image39.png"/><Relationship Id="rId5" Type="http://schemas.openxmlformats.org/officeDocument/2006/relationships/image" Target="../media/image38.emf"/><Relationship Id="rId4" Type="http://schemas.openxmlformats.org/officeDocument/2006/relationships/oleObject" Target="../embeddings/oleObject27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1.xml"/><Relationship Id="rId6" Type="http://schemas.openxmlformats.org/officeDocument/2006/relationships/image" Target="../media/image39.png"/><Relationship Id="rId5" Type="http://schemas.openxmlformats.org/officeDocument/2006/relationships/image" Target="../media/image38.emf"/><Relationship Id="rId4" Type="http://schemas.openxmlformats.org/officeDocument/2006/relationships/oleObject" Target="../embeddings/oleObject28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2.xml"/><Relationship Id="rId6" Type="http://schemas.openxmlformats.org/officeDocument/2006/relationships/image" Target="../media/image39.png"/><Relationship Id="rId5" Type="http://schemas.openxmlformats.org/officeDocument/2006/relationships/image" Target="../media/image38.emf"/><Relationship Id="rId4" Type="http://schemas.openxmlformats.org/officeDocument/2006/relationships/oleObject" Target="../embeddings/oleObject29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3.xml"/><Relationship Id="rId6" Type="http://schemas.openxmlformats.org/officeDocument/2006/relationships/image" Target="../media/image39.png"/><Relationship Id="rId5" Type="http://schemas.openxmlformats.org/officeDocument/2006/relationships/image" Target="../media/image38.emf"/><Relationship Id="rId4" Type="http://schemas.openxmlformats.org/officeDocument/2006/relationships/oleObject" Target="../embeddings/oleObject30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40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4.xml"/><Relationship Id="rId6" Type="http://schemas.openxmlformats.org/officeDocument/2006/relationships/image" Target="../media/image39.png"/><Relationship Id="rId5" Type="http://schemas.openxmlformats.org/officeDocument/2006/relationships/image" Target="../media/image38.emf"/><Relationship Id="rId4" Type="http://schemas.openxmlformats.org/officeDocument/2006/relationships/oleObject" Target="../embeddings/oleObject31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41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5.xml"/><Relationship Id="rId6" Type="http://schemas.openxmlformats.org/officeDocument/2006/relationships/image" Target="../media/image39.png"/><Relationship Id="rId5" Type="http://schemas.openxmlformats.org/officeDocument/2006/relationships/image" Target="../media/image38.emf"/><Relationship Id="rId4" Type="http://schemas.openxmlformats.org/officeDocument/2006/relationships/oleObject" Target="../embeddings/oleObject32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43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6.xml"/><Relationship Id="rId6" Type="http://schemas.openxmlformats.org/officeDocument/2006/relationships/image" Target="../media/image39.png"/><Relationship Id="rId5" Type="http://schemas.openxmlformats.org/officeDocument/2006/relationships/image" Target="../media/image38.emf"/><Relationship Id="rId4" Type="http://schemas.openxmlformats.org/officeDocument/2006/relationships/oleObject" Target="../embeddings/oleObject33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7.xml"/><Relationship Id="rId6" Type="http://schemas.openxmlformats.org/officeDocument/2006/relationships/image" Target="../media/image39.png"/><Relationship Id="rId5" Type="http://schemas.openxmlformats.org/officeDocument/2006/relationships/image" Target="../media/image38.emf"/><Relationship Id="rId4" Type="http://schemas.openxmlformats.org/officeDocument/2006/relationships/oleObject" Target="../embeddings/oleObject34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7" Type="http://schemas.openxmlformats.org/officeDocument/2006/relationships/image" Target="../media/image45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8.xml"/><Relationship Id="rId6" Type="http://schemas.openxmlformats.org/officeDocument/2006/relationships/image" Target="../media/image39.png"/><Relationship Id="rId5" Type="http://schemas.openxmlformats.org/officeDocument/2006/relationships/image" Target="../media/image38.emf"/><Relationship Id="rId4" Type="http://schemas.openxmlformats.org/officeDocument/2006/relationships/oleObject" Target="../embeddings/oleObject3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64232215-5DA1-4934-AEC7-C45A53F98D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91769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64232215-5DA1-4934-AEC7-C45A53F98D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ktangel 7">
            <a:extLst>
              <a:ext uri="{FF2B5EF4-FFF2-40B4-BE49-F238E27FC236}">
                <a16:creationId xmlns:a16="http://schemas.microsoft.com/office/drawing/2014/main" id="{BE918D2E-40DE-3BB0-1D54-F7243D6AAD7A}"/>
              </a:ext>
            </a:extLst>
          </p:cNvPr>
          <p:cNvSpPr/>
          <p:nvPr/>
        </p:nvSpPr>
        <p:spPr>
          <a:xfrm>
            <a:off x="1538163" y="1746936"/>
            <a:ext cx="9278093" cy="3595690"/>
          </a:xfrm>
          <a:prstGeom prst="rect">
            <a:avLst/>
          </a:prstGeom>
          <a:solidFill>
            <a:schemeClr val="bg1">
              <a:lumMod val="95000"/>
              <a:alpha val="30000"/>
            </a:schemeClr>
          </a:solidFill>
          <a:ln w="158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GB" sz="1500" dirty="0">
              <a:solidFill>
                <a:srgbClr val="002060"/>
              </a:solidFill>
            </a:endParaRPr>
          </a:p>
          <a:p>
            <a:r>
              <a:rPr lang="en-GB" sz="1500" dirty="0">
                <a:solidFill>
                  <a:srgbClr val="002060"/>
                </a:solidFill>
              </a:rPr>
              <a:t>  </a:t>
            </a:r>
          </a:p>
          <a:p>
            <a:endParaRPr lang="en-GB" sz="1500" dirty="0">
              <a:solidFill>
                <a:srgbClr val="002060"/>
              </a:solidFill>
            </a:endParaRPr>
          </a:p>
          <a:p>
            <a:endParaRPr lang="en-GB" sz="1500" dirty="0">
              <a:solidFill>
                <a:srgbClr val="002060"/>
              </a:solidFill>
            </a:endParaRPr>
          </a:p>
          <a:p>
            <a:pPr defTabSz="1371600">
              <a:defRPr/>
            </a:pPr>
            <a:endParaRPr lang="da-DK" sz="2700" i="1" dirty="0">
              <a:solidFill>
                <a:srgbClr val="FFC000"/>
              </a:solidFill>
              <a:latin typeface="Arial"/>
            </a:endParaRPr>
          </a:p>
        </p:txBody>
      </p:sp>
      <p:cxnSp>
        <p:nvCxnSpPr>
          <p:cNvPr id="9" name="Straight Connector 42">
            <a:extLst>
              <a:ext uri="{FF2B5EF4-FFF2-40B4-BE49-F238E27FC236}">
                <a16:creationId xmlns:a16="http://schemas.microsoft.com/office/drawing/2014/main" id="{26F14B1A-84F7-466D-9573-CC8749B6806F}"/>
              </a:ext>
            </a:extLst>
          </p:cNvPr>
          <p:cNvCxnSpPr>
            <a:cxnSpLocks/>
          </p:cNvCxnSpPr>
          <p:nvPr/>
        </p:nvCxnSpPr>
        <p:spPr>
          <a:xfrm>
            <a:off x="918139" y="856288"/>
            <a:ext cx="8012009" cy="0"/>
          </a:xfrm>
          <a:prstGeom prst="line">
            <a:avLst/>
          </a:prstGeom>
          <a:ln w="9525" cmpd="sng">
            <a:solidFill>
              <a:schemeClr val="tx2"/>
            </a:solidFill>
            <a:prstDash val="solid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itel 2">
            <a:extLst>
              <a:ext uri="{FF2B5EF4-FFF2-40B4-BE49-F238E27FC236}">
                <a16:creationId xmlns:a16="http://schemas.microsoft.com/office/drawing/2014/main" id="{9B88288E-C45D-0CEE-63EF-B034D2EAB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1225" y="223839"/>
            <a:ext cx="10363200" cy="817561"/>
          </a:xfrm>
        </p:spPr>
        <p:txBody>
          <a:bodyPr vert="horz"/>
          <a:lstStyle/>
          <a:p>
            <a:pPr algn="l"/>
            <a:r>
              <a:rPr lang="da-DK" sz="2800" dirty="0">
                <a:solidFill>
                  <a:schemeClr val="accent3">
                    <a:lumMod val="75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Boliga Marketingpakker </a:t>
            </a:r>
            <a:endParaRPr lang="da-DK" sz="5400" dirty="0">
              <a:solidFill>
                <a:schemeClr val="accent3">
                  <a:lumMod val="75000"/>
                </a:schemeClr>
              </a:solidFill>
            </a:endParaRPr>
          </a:p>
        </p:txBody>
      </p:sp>
      <p:pic>
        <p:nvPicPr>
          <p:cNvPr id="15" name="Picture 14" descr="Icon&#10;&#10;Description automatically generated">
            <a:extLst>
              <a:ext uri="{FF2B5EF4-FFF2-40B4-BE49-F238E27FC236}">
                <a16:creationId xmlns:a16="http://schemas.microsoft.com/office/drawing/2014/main" id="{C202BC0E-640C-9F13-FC3A-8BBBE7E21D9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73577" y="6497364"/>
            <a:ext cx="766023" cy="233637"/>
          </a:xfrm>
          <a:prstGeom prst="rect">
            <a:avLst/>
          </a:prstGeom>
        </p:spPr>
      </p:pic>
      <p:sp>
        <p:nvSpPr>
          <p:cNvPr id="11" name="Rektangel 60">
            <a:extLst>
              <a:ext uri="{FF2B5EF4-FFF2-40B4-BE49-F238E27FC236}">
                <a16:creationId xmlns:a16="http://schemas.microsoft.com/office/drawing/2014/main" id="{2F753E69-DDEA-73FE-D61E-E47A384306C8}"/>
              </a:ext>
            </a:extLst>
          </p:cNvPr>
          <p:cNvSpPr/>
          <p:nvPr/>
        </p:nvSpPr>
        <p:spPr>
          <a:xfrm>
            <a:off x="1548522" y="1631092"/>
            <a:ext cx="2338207" cy="172585"/>
          </a:xfrm>
          <a:prstGeom prst="rect">
            <a:avLst/>
          </a:prstGeom>
          <a:solidFill>
            <a:schemeClr val="accent3">
              <a:lumMod val="75000"/>
            </a:schemeClr>
          </a:solidFill>
          <a:ln w="158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Rektangel 54">
            <a:extLst>
              <a:ext uri="{FF2B5EF4-FFF2-40B4-BE49-F238E27FC236}">
                <a16:creationId xmlns:a16="http://schemas.microsoft.com/office/drawing/2014/main" id="{2FB112CA-BB29-316C-D620-FB594234CADB}"/>
              </a:ext>
            </a:extLst>
          </p:cNvPr>
          <p:cNvSpPr/>
          <p:nvPr/>
        </p:nvSpPr>
        <p:spPr>
          <a:xfrm>
            <a:off x="1526754" y="1738314"/>
            <a:ext cx="2376296" cy="3595686"/>
          </a:xfrm>
          <a:prstGeom prst="rect">
            <a:avLst/>
          </a:prstGeom>
          <a:solidFill>
            <a:srgbClr val="FFFFFF"/>
          </a:solidFill>
          <a:ln w="158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400" b="0" i="0" u="none" strike="noStrike" kern="1200" cap="none" spc="0" normalizeH="0" baseline="0" noProof="0" dirty="0">
              <a:ln>
                <a:noFill/>
              </a:ln>
              <a:solidFill>
                <a:schemeClr val="accent3">
                  <a:lumMod val="75000"/>
                </a:scheme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3">
                    <a:lumMod val="7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Me Katalog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a-DK" sz="1200" dirty="0">
              <a:solidFill>
                <a:schemeClr val="accent3">
                  <a:lumMod val="75000"/>
                </a:schemeClr>
              </a:solidFill>
              <a:latin typeface="Arial"/>
            </a:endParaRP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lang="da-DK" sz="1100" dirty="0">
                <a:solidFill>
                  <a:schemeClr val="accent3">
                    <a:lumMod val="75000"/>
                  </a:schemeClr>
                </a:solidFill>
                <a:latin typeface="Arial"/>
              </a:rPr>
              <a:t>Katalog med 11 boliger ad gangen – automatisk opdatering</a:t>
            </a:r>
            <a:br>
              <a:rPr lang="da-DK" sz="1100" dirty="0">
                <a:solidFill>
                  <a:schemeClr val="accent3">
                    <a:lumMod val="75000"/>
                  </a:schemeClr>
                </a:solidFill>
                <a:latin typeface="Arial"/>
              </a:rPr>
            </a:br>
            <a:endParaRPr kumimoji="0" lang="da-DK" sz="1100" b="0" i="0" u="none" strike="noStrike" kern="1200" cap="none" spc="0" normalizeH="0" baseline="0" noProof="0" dirty="0">
              <a:ln>
                <a:noFill/>
              </a:ln>
              <a:solidFill>
                <a:schemeClr val="accent3">
                  <a:lumMod val="75000"/>
                </a:scheme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lang="da-DK" sz="1100" dirty="0">
                <a:solidFill>
                  <a:schemeClr val="accent3">
                    <a:lumMod val="75000"/>
                  </a:schemeClr>
                </a:solidFill>
                <a:latin typeface="Arial"/>
              </a:rPr>
              <a:t>Vises på Facebook og Instagram </a:t>
            </a:r>
            <a:br>
              <a:rPr lang="da-DK" sz="1100" dirty="0">
                <a:solidFill>
                  <a:schemeClr val="accent3">
                    <a:lumMod val="75000"/>
                  </a:schemeClr>
                </a:solidFill>
                <a:latin typeface="Arial"/>
              </a:rPr>
            </a:br>
            <a:endParaRPr lang="da-DK" sz="1100" dirty="0">
              <a:solidFill>
                <a:schemeClr val="accent3">
                  <a:lumMod val="75000"/>
                </a:schemeClr>
              </a:solidFill>
              <a:latin typeface="Arial"/>
            </a:endParaRP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kumimoji="0" lang="da-DK" sz="1100" b="0" i="0" u="none" strike="noStrike" kern="1200" cap="none" spc="0" normalizeH="0" baseline="0" noProof="0" dirty="0">
                <a:ln>
                  <a:noFill/>
                </a:ln>
                <a:solidFill>
                  <a:schemeClr val="accent3">
                    <a:lumMod val="7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oliga data </a:t>
            </a:r>
            <a:r>
              <a:rPr lang="da-DK" sz="1100" dirty="0">
                <a:solidFill>
                  <a:schemeClr val="accent3">
                    <a:lumMod val="75000"/>
                  </a:schemeClr>
                </a:solidFill>
                <a:latin typeface="Arial"/>
              </a:rPr>
              <a:t>kombineret med FB+IG data </a:t>
            </a:r>
            <a:br>
              <a:rPr lang="da-DK" sz="1100" dirty="0">
                <a:solidFill>
                  <a:schemeClr val="accent3">
                    <a:lumMod val="75000"/>
                  </a:schemeClr>
                </a:solidFill>
                <a:latin typeface="Arial"/>
              </a:rPr>
            </a:br>
            <a:endParaRPr lang="da-DK" sz="1100" dirty="0">
              <a:solidFill>
                <a:schemeClr val="accent3">
                  <a:lumMod val="75000"/>
                </a:schemeClr>
              </a:solidFill>
              <a:latin typeface="Arial"/>
            </a:endParaRP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kumimoji="0" lang="da-DK" sz="1100" b="0" i="0" u="none" strike="noStrike" kern="1200" cap="none" spc="0" normalizeH="0" baseline="0" noProof="0" dirty="0">
                <a:ln>
                  <a:noFill/>
                </a:ln>
                <a:solidFill>
                  <a:schemeClr val="accent3">
                    <a:lumMod val="7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oliga</a:t>
            </a:r>
            <a:r>
              <a:rPr lang="da-DK" sz="1100" dirty="0">
                <a:solidFill>
                  <a:schemeClr val="accent3">
                    <a:lumMod val="75000"/>
                  </a:schemeClr>
                </a:solidFill>
                <a:latin typeface="Arial"/>
              </a:rPr>
              <a:t>-afsender giver  uhørt høj klikrate </a:t>
            </a:r>
            <a:endParaRPr kumimoji="0" lang="da-DK" sz="1100" b="0" i="0" u="none" strike="noStrike" kern="1200" cap="none" spc="0" normalizeH="0" baseline="0" noProof="0" dirty="0">
              <a:ln>
                <a:noFill/>
              </a:ln>
              <a:solidFill>
                <a:schemeClr val="accent3">
                  <a:lumMod val="75000"/>
                </a:scheme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14" name="Rektangel 60">
            <a:extLst>
              <a:ext uri="{FF2B5EF4-FFF2-40B4-BE49-F238E27FC236}">
                <a16:creationId xmlns:a16="http://schemas.microsoft.com/office/drawing/2014/main" id="{2987C690-FE32-1911-FBC1-D684EE040B6C}"/>
              </a:ext>
            </a:extLst>
          </p:cNvPr>
          <p:cNvSpPr/>
          <p:nvPr/>
        </p:nvSpPr>
        <p:spPr>
          <a:xfrm>
            <a:off x="5010195" y="1631092"/>
            <a:ext cx="2368072" cy="201415"/>
          </a:xfrm>
          <a:prstGeom prst="rect">
            <a:avLst/>
          </a:prstGeom>
          <a:solidFill>
            <a:schemeClr val="accent3">
              <a:lumMod val="75000"/>
            </a:schemeClr>
          </a:solidFill>
          <a:ln w="158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Rektangel 54">
            <a:extLst>
              <a:ext uri="{FF2B5EF4-FFF2-40B4-BE49-F238E27FC236}">
                <a16:creationId xmlns:a16="http://schemas.microsoft.com/office/drawing/2014/main" id="{D2B38973-4303-9B19-70B5-D6EBC78DCB09}"/>
              </a:ext>
            </a:extLst>
          </p:cNvPr>
          <p:cNvSpPr/>
          <p:nvPr/>
        </p:nvSpPr>
        <p:spPr>
          <a:xfrm>
            <a:off x="4999565" y="1767144"/>
            <a:ext cx="2376296" cy="3566856"/>
          </a:xfrm>
          <a:prstGeom prst="rect">
            <a:avLst/>
          </a:prstGeom>
          <a:solidFill>
            <a:srgbClr val="FFFFFF"/>
          </a:solidFill>
          <a:ln w="158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3">
                    <a:lumMod val="7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BA Exclusiv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a-DK" sz="1100" dirty="0">
              <a:solidFill>
                <a:schemeClr val="accent3">
                  <a:lumMod val="75000"/>
                </a:schemeClr>
              </a:solidFill>
              <a:latin typeface="Arial"/>
            </a:endParaRP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lang="da-DK" sz="1100" dirty="0">
                <a:solidFill>
                  <a:schemeClr val="accent3">
                    <a:lumMod val="75000"/>
                  </a:schemeClr>
                </a:solidFill>
                <a:latin typeface="Arial"/>
              </a:rPr>
              <a:t>Op til 3 x flere visninger </a:t>
            </a:r>
            <a:br>
              <a:rPr lang="da-DK" sz="1100" dirty="0">
                <a:solidFill>
                  <a:schemeClr val="accent3">
                    <a:lumMod val="75000"/>
                  </a:schemeClr>
                </a:solidFill>
                <a:latin typeface="Arial"/>
              </a:rPr>
            </a:br>
            <a:endParaRPr lang="da-DK" sz="1100" dirty="0">
              <a:solidFill>
                <a:schemeClr val="accent3">
                  <a:lumMod val="75000"/>
                </a:schemeClr>
              </a:solidFill>
              <a:latin typeface="Arial"/>
            </a:endParaRP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lang="da-DK" sz="1100" dirty="0">
                <a:solidFill>
                  <a:schemeClr val="accent3">
                    <a:lumMod val="75000"/>
                  </a:schemeClr>
                </a:solidFill>
                <a:latin typeface="Arial"/>
              </a:rPr>
              <a:t>Bedre placeringer end øvrige boliger</a:t>
            </a:r>
            <a:br>
              <a:rPr lang="da-DK" sz="1100" dirty="0">
                <a:solidFill>
                  <a:schemeClr val="accent3">
                    <a:lumMod val="75000"/>
                  </a:schemeClr>
                </a:solidFill>
                <a:latin typeface="Arial"/>
              </a:rPr>
            </a:br>
            <a:endParaRPr lang="da-DK" sz="1100" dirty="0">
              <a:solidFill>
                <a:schemeClr val="accent3">
                  <a:lumMod val="75000"/>
                </a:schemeClr>
              </a:solidFill>
              <a:latin typeface="Arial"/>
            </a:endParaRP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lang="da-DK" sz="1100" dirty="0">
                <a:solidFill>
                  <a:schemeClr val="accent3">
                    <a:lumMod val="75000"/>
                  </a:schemeClr>
                </a:solidFill>
                <a:latin typeface="Arial"/>
              </a:rPr>
              <a:t>Fremhævet tekst</a:t>
            </a:r>
            <a:br>
              <a:rPr lang="da-DK" sz="1100" dirty="0">
                <a:solidFill>
                  <a:schemeClr val="accent3">
                    <a:lumMod val="75000"/>
                  </a:schemeClr>
                </a:solidFill>
                <a:latin typeface="Arial"/>
              </a:rPr>
            </a:br>
            <a:endParaRPr lang="da-DK" sz="1100" dirty="0">
              <a:solidFill>
                <a:schemeClr val="accent3">
                  <a:lumMod val="75000"/>
                </a:schemeClr>
              </a:solidFill>
              <a:latin typeface="Arial"/>
            </a:endParaRP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lang="da-DK" sz="1100" dirty="0">
                <a:solidFill>
                  <a:schemeClr val="accent3">
                    <a:lumMod val="75000"/>
                  </a:schemeClr>
                </a:solidFill>
                <a:latin typeface="Arial"/>
              </a:rPr>
              <a:t>Fremhævet grafisk annonce </a:t>
            </a:r>
            <a:r>
              <a:rPr lang="da-DK" sz="1100" dirty="0">
                <a:solidFill>
                  <a:schemeClr val="tx1"/>
                </a:solidFill>
                <a:latin typeface="Arial"/>
              </a:rPr>
              <a:t>  </a:t>
            </a:r>
            <a:endParaRPr kumimoji="0" lang="da-DK" sz="1100" b="0" i="0" u="none" strike="noStrike" kern="1200" cap="none" spc="0" normalizeH="0" baseline="0" noProof="0" dirty="0">
              <a:ln>
                <a:noFill/>
              </a:ln>
              <a:solidFill>
                <a:schemeClr val="accent3">
                  <a:lumMod val="75000"/>
                </a:scheme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Rektangel 60">
            <a:extLst>
              <a:ext uri="{FF2B5EF4-FFF2-40B4-BE49-F238E27FC236}">
                <a16:creationId xmlns:a16="http://schemas.microsoft.com/office/drawing/2014/main" id="{282D86DE-C64C-9228-EB0A-5A5E30039772}"/>
              </a:ext>
            </a:extLst>
          </p:cNvPr>
          <p:cNvSpPr/>
          <p:nvPr/>
        </p:nvSpPr>
        <p:spPr>
          <a:xfrm>
            <a:off x="8465753" y="1618736"/>
            <a:ext cx="2359129" cy="201415"/>
          </a:xfrm>
          <a:prstGeom prst="rect">
            <a:avLst/>
          </a:prstGeom>
          <a:solidFill>
            <a:schemeClr val="accent3">
              <a:lumMod val="75000"/>
            </a:schemeClr>
          </a:solidFill>
          <a:ln w="158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Rektangel 54">
            <a:extLst>
              <a:ext uri="{FF2B5EF4-FFF2-40B4-BE49-F238E27FC236}">
                <a16:creationId xmlns:a16="http://schemas.microsoft.com/office/drawing/2014/main" id="{DA5134B1-8E54-CA25-9E10-E2BAF886930D}"/>
              </a:ext>
            </a:extLst>
          </p:cNvPr>
          <p:cNvSpPr/>
          <p:nvPr/>
        </p:nvSpPr>
        <p:spPr>
          <a:xfrm>
            <a:off x="8452548" y="1754787"/>
            <a:ext cx="2376296" cy="3595686"/>
          </a:xfrm>
          <a:prstGeom prst="rect">
            <a:avLst/>
          </a:prstGeom>
          <a:solidFill>
            <a:srgbClr val="FFFFFF"/>
          </a:solidFill>
          <a:ln w="158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3">
                    <a:lumMod val="7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oliga Fron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a-DK" sz="1400" dirty="0">
              <a:solidFill>
                <a:schemeClr val="accent3">
                  <a:lumMod val="75000"/>
                </a:schemeClr>
              </a:solidFill>
              <a:latin typeface="Arial"/>
            </a:endParaRP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lang="da-DK" sz="1200" dirty="0">
                <a:solidFill>
                  <a:schemeClr val="accent3">
                    <a:lumMod val="75000"/>
                  </a:schemeClr>
                </a:solidFill>
                <a:latin typeface="Arial"/>
              </a:rPr>
              <a:t>Bolig på forsiden af boliga.dk </a:t>
            </a:r>
            <a:br>
              <a:rPr lang="da-DK" sz="1200" dirty="0">
                <a:solidFill>
                  <a:schemeClr val="accent3">
                    <a:lumMod val="75000"/>
                  </a:schemeClr>
                </a:solidFill>
                <a:latin typeface="Arial"/>
              </a:rPr>
            </a:br>
            <a:endParaRPr lang="da-DK" sz="1200" dirty="0">
              <a:solidFill>
                <a:schemeClr val="accent3">
                  <a:lumMod val="75000"/>
                </a:schemeClr>
              </a:solidFill>
              <a:latin typeface="Arial"/>
            </a:endParaRP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lang="da-DK" sz="1200" dirty="0">
                <a:solidFill>
                  <a:schemeClr val="accent3">
                    <a:lumMod val="75000"/>
                  </a:schemeClr>
                </a:solidFill>
                <a:latin typeface="Arial"/>
              </a:rPr>
              <a:t>Fremhævet grafisk annonce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a-DK" sz="1200" dirty="0">
              <a:solidFill>
                <a:schemeClr val="accent3">
                  <a:lumMod val="75000"/>
                </a:schemeClr>
              </a:solidFill>
              <a:latin typeface="Arial"/>
            </a:endParaRP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lang="da-DK" sz="1200" dirty="0">
                <a:solidFill>
                  <a:schemeClr val="accent3">
                    <a:lumMod val="75000"/>
                  </a:schemeClr>
                </a:solidFill>
                <a:latin typeface="Arial"/>
              </a:rPr>
              <a:t>Forskellige fremhævninger efter boligstatus (”Nyhed”, ”Prisfald” etc.) 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a-DK" sz="1400" dirty="0">
              <a:solidFill>
                <a:schemeClr val="tx1"/>
              </a:solidFill>
              <a:latin typeface="Arial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a-DK" sz="1400" dirty="0">
              <a:solidFill>
                <a:schemeClr val="tx1"/>
              </a:solidFill>
              <a:latin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Rektangel 60">
            <a:extLst>
              <a:ext uri="{FF2B5EF4-FFF2-40B4-BE49-F238E27FC236}">
                <a16:creationId xmlns:a16="http://schemas.microsoft.com/office/drawing/2014/main" id="{D1110A42-011D-1062-76B8-44730AEE52D3}"/>
              </a:ext>
            </a:extLst>
          </p:cNvPr>
          <p:cNvSpPr/>
          <p:nvPr/>
        </p:nvSpPr>
        <p:spPr>
          <a:xfrm>
            <a:off x="5690280" y="1382163"/>
            <a:ext cx="1683461" cy="356151"/>
          </a:xfrm>
          <a:prstGeom prst="rect">
            <a:avLst/>
          </a:prstGeom>
          <a:solidFill>
            <a:schemeClr val="accent3">
              <a:lumMod val="75000"/>
            </a:schemeClr>
          </a:solidFill>
          <a:ln w="158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90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UN MED BOLIGA </a:t>
            </a:r>
            <a:endParaRPr kumimoji="0" lang="da-DK" sz="1100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Rektangel 60">
            <a:extLst>
              <a:ext uri="{FF2B5EF4-FFF2-40B4-BE49-F238E27FC236}">
                <a16:creationId xmlns:a16="http://schemas.microsoft.com/office/drawing/2014/main" id="{709DB893-4912-F158-2212-480B85E2F6D9}"/>
              </a:ext>
            </a:extLst>
          </p:cNvPr>
          <p:cNvSpPr/>
          <p:nvPr/>
        </p:nvSpPr>
        <p:spPr>
          <a:xfrm>
            <a:off x="9146391" y="1393049"/>
            <a:ext cx="1683461" cy="356151"/>
          </a:xfrm>
          <a:prstGeom prst="rect">
            <a:avLst/>
          </a:prstGeom>
          <a:solidFill>
            <a:schemeClr val="accent3">
              <a:lumMod val="75000"/>
            </a:schemeClr>
          </a:solidFill>
          <a:ln w="158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90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ÅLRETTET KØBERE</a:t>
            </a:r>
            <a:endParaRPr kumimoji="0" lang="da-DK" sz="1100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Rektangel 54">
            <a:extLst>
              <a:ext uri="{FF2B5EF4-FFF2-40B4-BE49-F238E27FC236}">
                <a16:creationId xmlns:a16="http://schemas.microsoft.com/office/drawing/2014/main" id="{1A856678-2A7C-C6B4-F770-4D2C8FE2B6EF}"/>
              </a:ext>
            </a:extLst>
          </p:cNvPr>
          <p:cNvSpPr/>
          <p:nvPr/>
        </p:nvSpPr>
        <p:spPr>
          <a:xfrm>
            <a:off x="1548522" y="5724750"/>
            <a:ext cx="2376296" cy="940935"/>
          </a:xfrm>
          <a:prstGeom prst="rect">
            <a:avLst/>
          </a:prstGeom>
          <a:solidFill>
            <a:srgbClr val="FFFFFF"/>
          </a:solidFill>
          <a:ln w="158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a-DK" sz="1400" dirty="0">
              <a:solidFill>
                <a:schemeClr val="accent3">
                  <a:lumMod val="75000"/>
                </a:schemeClr>
              </a:solidFill>
              <a:latin typeface="Arial"/>
            </a:endParaRP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lang="da-DK" sz="1100" dirty="0">
                <a:solidFill>
                  <a:schemeClr val="accent3">
                    <a:lumMod val="75000"/>
                  </a:schemeClr>
                </a:solidFill>
                <a:latin typeface="Arial"/>
              </a:rPr>
              <a:t>Kan udvides med katalog efter boligtype og pris</a:t>
            </a:r>
            <a:endParaRPr kumimoji="0" lang="da-DK" sz="1100" b="0" i="0" u="none" strike="noStrike" kern="1200" cap="none" spc="0" normalizeH="0" baseline="0" noProof="0" dirty="0">
              <a:ln>
                <a:noFill/>
              </a:ln>
              <a:solidFill>
                <a:schemeClr val="accent3">
                  <a:lumMod val="75000"/>
                </a:scheme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24" name="Ellipse 4">
            <a:extLst>
              <a:ext uri="{FF2B5EF4-FFF2-40B4-BE49-F238E27FC236}">
                <a16:creationId xmlns:a16="http://schemas.microsoft.com/office/drawing/2014/main" id="{97C4DB62-5188-DF13-916B-0EE62813D603}"/>
              </a:ext>
            </a:extLst>
          </p:cNvPr>
          <p:cNvSpPr/>
          <p:nvPr/>
        </p:nvSpPr>
        <p:spPr>
          <a:xfrm>
            <a:off x="2441798" y="5428884"/>
            <a:ext cx="324000" cy="324000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15875">
            <a:noFill/>
          </a:ln>
          <a:effectLst>
            <a:outerShdw blurRad="127000" dist="50800" dir="54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+</a:t>
            </a:r>
            <a:endParaRPr kumimoji="0" lang="da-DK" sz="2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Rektangel 60">
            <a:extLst>
              <a:ext uri="{FF2B5EF4-FFF2-40B4-BE49-F238E27FC236}">
                <a16:creationId xmlns:a16="http://schemas.microsoft.com/office/drawing/2014/main" id="{676BA5FF-2888-048A-0A9D-7263F2AAC2B9}"/>
              </a:ext>
            </a:extLst>
          </p:cNvPr>
          <p:cNvSpPr/>
          <p:nvPr/>
        </p:nvSpPr>
        <p:spPr>
          <a:xfrm>
            <a:off x="2216506" y="1382159"/>
            <a:ext cx="1683461" cy="356151"/>
          </a:xfrm>
          <a:prstGeom prst="rect">
            <a:avLst/>
          </a:prstGeom>
          <a:solidFill>
            <a:schemeClr val="accent3">
              <a:lumMod val="75000"/>
            </a:schemeClr>
          </a:solidFill>
          <a:ln w="158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90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ØJE KLIKRATER</a:t>
            </a:r>
            <a:endParaRPr kumimoji="0" lang="da-DK" sz="1400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594003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64232215-5DA1-4934-AEC7-C45A53F98D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97315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64232215-5DA1-4934-AEC7-C45A53F98D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" name="Straight Connector 42">
            <a:extLst>
              <a:ext uri="{FF2B5EF4-FFF2-40B4-BE49-F238E27FC236}">
                <a16:creationId xmlns:a16="http://schemas.microsoft.com/office/drawing/2014/main" id="{26F14B1A-84F7-466D-9573-CC8749B6806F}"/>
              </a:ext>
            </a:extLst>
          </p:cNvPr>
          <p:cNvCxnSpPr>
            <a:cxnSpLocks/>
          </p:cNvCxnSpPr>
          <p:nvPr/>
        </p:nvCxnSpPr>
        <p:spPr>
          <a:xfrm>
            <a:off x="918139" y="856288"/>
            <a:ext cx="8012009" cy="0"/>
          </a:xfrm>
          <a:prstGeom prst="line">
            <a:avLst/>
          </a:prstGeom>
          <a:ln w="9525" cmpd="sng">
            <a:solidFill>
              <a:schemeClr val="tx2"/>
            </a:solidFill>
            <a:prstDash val="solid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itel 2">
            <a:extLst>
              <a:ext uri="{FF2B5EF4-FFF2-40B4-BE49-F238E27FC236}">
                <a16:creationId xmlns:a16="http://schemas.microsoft.com/office/drawing/2014/main" id="{9B88288E-C45D-0CEE-63EF-B034D2EAB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1225" y="223839"/>
            <a:ext cx="10363200" cy="817561"/>
          </a:xfrm>
        </p:spPr>
        <p:txBody>
          <a:bodyPr vert="horz"/>
          <a:lstStyle/>
          <a:p>
            <a:pPr algn="l"/>
            <a:r>
              <a:rPr lang="da-DK" sz="2800" dirty="0">
                <a:solidFill>
                  <a:schemeClr val="accent3">
                    <a:lumMod val="75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oMe katalog: Salgsbudskaber </a:t>
            </a:r>
            <a:endParaRPr lang="da-DK" sz="5400" dirty="0">
              <a:solidFill>
                <a:schemeClr val="accent3">
                  <a:lumMod val="75000"/>
                </a:schemeClr>
              </a:solidFill>
            </a:endParaRPr>
          </a:p>
        </p:txBody>
      </p:sp>
      <p:pic>
        <p:nvPicPr>
          <p:cNvPr id="15" name="Picture 14" descr="Icon&#10;&#10;Description automatically generated">
            <a:extLst>
              <a:ext uri="{FF2B5EF4-FFF2-40B4-BE49-F238E27FC236}">
                <a16:creationId xmlns:a16="http://schemas.microsoft.com/office/drawing/2014/main" id="{C202BC0E-640C-9F13-FC3A-8BBBE7E21D9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73577" y="6497364"/>
            <a:ext cx="766023" cy="233637"/>
          </a:xfrm>
          <a:prstGeom prst="rect">
            <a:avLst/>
          </a:prstGeom>
        </p:spPr>
      </p:pic>
      <p:sp>
        <p:nvSpPr>
          <p:cNvPr id="3" name="Rektangel 54">
            <a:extLst>
              <a:ext uri="{FF2B5EF4-FFF2-40B4-BE49-F238E27FC236}">
                <a16:creationId xmlns:a16="http://schemas.microsoft.com/office/drawing/2014/main" id="{E5432CF6-DAA0-F958-F162-7F0D9BAB2F8E}"/>
              </a:ext>
            </a:extLst>
          </p:cNvPr>
          <p:cNvSpPr/>
          <p:nvPr/>
        </p:nvSpPr>
        <p:spPr>
          <a:xfrm>
            <a:off x="1009291" y="1673849"/>
            <a:ext cx="4071466" cy="4865421"/>
          </a:xfrm>
          <a:prstGeom prst="rect">
            <a:avLst/>
          </a:prstGeom>
          <a:solidFill>
            <a:srgbClr val="FFFFFF"/>
          </a:solidFill>
          <a:ln w="158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a-DK" sz="1400" b="1" dirty="0">
                <a:solidFill>
                  <a:srgbClr val="002060"/>
                </a:solidFill>
              </a:rPr>
              <a:t>Boliga SoMe-katalog</a:t>
            </a: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da-DK" sz="1400" b="1" dirty="0">
              <a:solidFill>
                <a:srgbClr val="002060"/>
              </a:solidFill>
            </a:endParaRP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a-DK" sz="1400" dirty="0">
                <a:solidFill>
                  <a:srgbClr val="002060"/>
                </a:solidFill>
              </a:rPr>
              <a:t>Få dine sager direkte ud på Facebook og Instagram med et SoMe-katalog. </a:t>
            </a: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da-DK" sz="1400" dirty="0">
              <a:solidFill>
                <a:srgbClr val="002060"/>
              </a:solidFill>
            </a:endParaRP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a-DK" sz="1400" dirty="0">
                <a:solidFill>
                  <a:srgbClr val="002060"/>
                </a:solidFill>
              </a:rPr>
              <a:t>Det sker helt automatisk og din butik skal ikke gøre noget. Der er 11 visninger pr. SoMe-katalog, og dine sager bliver vist lige meget. </a:t>
            </a: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da-DK" sz="1400" dirty="0">
              <a:solidFill>
                <a:srgbClr val="002060"/>
              </a:solidFill>
            </a:endParaRP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a-DK" sz="1400" dirty="0">
                <a:solidFill>
                  <a:srgbClr val="002060"/>
                </a:solidFill>
              </a:rPr>
              <a:t>Har du flere en 11 sager, bliver der lidt færre visninger pr. sag. Har du færre bliver der tilsvarende flere visninger af den enkelte sag.</a:t>
            </a: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da-DK" sz="1400" dirty="0">
              <a:solidFill>
                <a:srgbClr val="002060"/>
              </a:solidFill>
            </a:endParaRP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a-DK" sz="1400" dirty="0">
                <a:solidFill>
                  <a:srgbClr val="002060"/>
                </a:solidFill>
              </a:rPr>
              <a:t>Du kan naturligvis købe flere kataloger. Du kan også vælge at kører en boligtype for sig. Har du mange sommerhuse, så kan de tilknyttes eget katalog – i så fald udvider vi også målretningen i forhold til at finde potentielle sommerhuskøbere. </a:t>
            </a:r>
            <a:r>
              <a:rPr lang="da-DK" sz="1400" b="1" dirty="0">
                <a:solidFill>
                  <a:srgbClr val="002060"/>
                </a:solidFill>
              </a:rPr>
              <a:t> </a:t>
            </a: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a-DK" sz="1400" b="1" dirty="0">
                <a:solidFill>
                  <a:srgbClr val="002060"/>
                </a:solidFill>
              </a:rPr>
              <a:t> </a:t>
            </a: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da-DK" sz="1400" b="1" dirty="0">
              <a:solidFill>
                <a:srgbClr val="002060"/>
              </a:solidFill>
            </a:endParaRP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da-DK" sz="1400" b="1" dirty="0">
              <a:solidFill>
                <a:srgbClr val="002060"/>
              </a:solidFill>
            </a:endParaRP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da-DK" sz="1400" b="1" dirty="0">
              <a:solidFill>
                <a:srgbClr val="002060"/>
              </a:solidFill>
            </a:endParaRP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a-DK" sz="1400" b="1" dirty="0">
                <a:solidFill>
                  <a:srgbClr val="002060"/>
                </a:solidFill>
              </a:rPr>
              <a:t> </a:t>
            </a: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da-DK" sz="1400" dirty="0">
              <a:solidFill>
                <a:srgbClr val="002060"/>
              </a:solidFill>
            </a:endParaRP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da-DK" sz="1400" dirty="0">
              <a:solidFill>
                <a:srgbClr val="002060"/>
              </a:solidFill>
            </a:endParaRPr>
          </a:p>
        </p:txBody>
      </p:sp>
      <p:sp>
        <p:nvSpPr>
          <p:cNvPr id="17" name="Rektangel 54">
            <a:extLst>
              <a:ext uri="{FF2B5EF4-FFF2-40B4-BE49-F238E27FC236}">
                <a16:creationId xmlns:a16="http://schemas.microsoft.com/office/drawing/2014/main" id="{AF33FBAE-9343-CB33-2F4A-8064AB4598A6}"/>
              </a:ext>
            </a:extLst>
          </p:cNvPr>
          <p:cNvSpPr/>
          <p:nvPr/>
        </p:nvSpPr>
        <p:spPr>
          <a:xfrm>
            <a:off x="5733688" y="1662962"/>
            <a:ext cx="4071466" cy="4865421"/>
          </a:xfrm>
          <a:prstGeom prst="rect">
            <a:avLst/>
          </a:prstGeom>
          <a:solidFill>
            <a:srgbClr val="FFFFFF"/>
          </a:solidFill>
          <a:ln w="158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a-DK" sz="1400" b="1" dirty="0">
                <a:solidFill>
                  <a:srgbClr val="002060"/>
                </a:solidFill>
              </a:rPr>
              <a:t>Boliga SoMe-performance</a:t>
            </a: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da-DK" sz="1400" b="1" dirty="0">
              <a:solidFill>
                <a:srgbClr val="002060"/>
              </a:solidFill>
            </a:endParaRP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da-DK" sz="1400" b="1" dirty="0">
              <a:solidFill>
                <a:srgbClr val="002060"/>
              </a:solidFill>
            </a:endParaRP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a-DK" sz="1400" dirty="0">
                <a:solidFill>
                  <a:srgbClr val="002060"/>
                </a:solidFill>
              </a:rPr>
              <a:t>Et Boliga SoMe-katalog leverer typisk en CTR mellem 6-12 %. </a:t>
            </a: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da-DK" sz="1400" b="1" dirty="0">
              <a:solidFill>
                <a:srgbClr val="002060"/>
              </a:solidFill>
            </a:endParaRP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a-DK" sz="1400" dirty="0">
                <a:solidFill>
                  <a:srgbClr val="002060"/>
                </a:solidFill>
              </a:rPr>
              <a:t>Et gennemsnit for SoMe-annoncer i mæglerbranchen ligger omkring 2 %.</a:t>
            </a:r>
            <a:r>
              <a:rPr lang="da-DK" sz="1400" b="1" dirty="0">
                <a:solidFill>
                  <a:srgbClr val="002060"/>
                </a:solidFill>
              </a:rPr>
              <a:t>  </a:t>
            </a: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da-DK" sz="1400" b="1" dirty="0">
              <a:solidFill>
                <a:srgbClr val="002060"/>
              </a:solidFill>
            </a:endParaRP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a-DK" sz="1400" dirty="0" err="1">
                <a:solidFill>
                  <a:srgbClr val="002060"/>
                </a:solidFill>
              </a:rPr>
              <a:t>Boligas</a:t>
            </a:r>
            <a:r>
              <a:rPr lang="da-DK" sz="1400" dirty="0">
                <a:solidFill>
                  <a:srgbClr val="002060"/>
                </a:solidFill>
              </a:rPr>
              <a:t> position i markedet som købernes foretrukne boligsite og kombinationen af SoMe- og unik Boliga-data er blandt årsagerne til den høje effekt af annoncerne. </a:t>
            </a: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da-DK" sz="1400" dirty="0">
              <a:solidFill>
                <a:srgbClr val="002060"/>
              </a:solidFill>
            </a:endParaRPr>
          </a:p>
          <a:p>
            <a:pPr>
              <a:defRPr/>
            </a:pP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+mn-ea"/>
                <a:cs typeface="+mn-cs"/>
              </a:rPr>
              <a:t>Det er muligt at oplyse månedlige visninger og klik til for boliger, der indgår i et SoMe-katalog. </a:t>
            </a:r>
            <a:r>
              <a:rPr lang="da-DK" sz="1400" dirty="0">
                <a:solidFill>
                  <a:srgbClr val="002060"/>
                </a:solidFill>
              </a:rPr>
              <a:t> </a:t>
            </a:r>
            <a:endParaRPr kumimoji="0" lang="da-DK" sz="14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ea typeface="+mn-ea"/>
              <a:cs typeface="+mn-cs"/>
            </a:endParaRP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da-DK" sz="1400" dirty="0">
              <a:solidFill>
                <a:srgbClr val="002060"/>
              </a:solidFill>
            </a:endParaRP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da-DK" sz="1400" b="1" dirty="0">
              <a:solidFill>
                <a:srgbClr val="002060"/>
              </a:solidFill>
            </a:endParaRP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da-DK" sz="1400" b="1" dirty="0">
              <a:solidFill>
                <a:srgbClr val="002060"/>
              </a:solidFill>
            </a:endParaRP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da-DK" sz="1400" dirty="0">
              <a:solidFill>
                <a:srgbClr val="002060"/>
              </a:solidFill>
            </a:endParaRP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da-DK" sz="14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85738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64232215-5DA1-4934-AEC7-C45A53F98D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91996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64232215-5DA1-4934-AEC7-C45A53F98D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" name="Straight Connector 42">
            <a:extLst>
              <a:ext uri="{FF2B5EF4-FFF2-40B4-BE49-F238E27FC236}">
                <a16:creationId xmlns:a16="http://schemas.microsoft.com/office/drawing/2014/main" id="{26F14B1A-84F7-466D-9573-CC8749B6806F}"/>
              </a:ext>
            </a:extLst>
          </p:cNvPr>
          <p:cNvCxnSpPr>
            <a:cxnSpLocks/>
          </p:cNvCxnSpPr>
          <p:nvPr/>
        </p:nvCxnSpPr>
        <p:spPr>
          <a:xfrm>
            <a:off x="918139" y="856288"/>
            <a:ext cx="8012009" cy="0"/>
          </a:xfrm>
          <a:prstGeom prst="line">
            <a:avLst/>
          </a:prstGeom>
          <a:ln w="9525" cmpd="sng">
            <a:solidFill>
              <a:schemeClr val="tx2"/>
            </a:solidFill>
            <a:prstDash val="solid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itel 2">
            <a:extLst>
              <a:ext uri="{FF2B5EF4-FFF2-40B4-BE49-F238E27FC236}">
                <a16:creationId xmlns:a16="http://schemas.microsoft.com/office/drawing/2014/main" id="{9B88288E-C45D-0CEE-63EF-B034D2EAB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1225" y="223839"/>
            <a:ext cx="10363200" cy="817561"/>
          </a:xfrm>
        </p:spPr>
        <p:txBody>
          <a:bodyPr vert="horz"/>
          <a:lstStyle/>
          <a:p>
            <a:pPr algn="l"/>
            <a:r>
              <a:rPr lang="da-DK" sz="2800" dirty="0">
                <a:solidFill>
                  <a:schemeClr val="accent3">
                    <a:lumMod val="75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oMe katalog: DK-kort med CTR </a:t>
            </a:r>
            <a:endParaRPr lang="da-DK" sz="5400" dirty="0">
              <a:solidFill>
                <a:schemeClr val="accent3">
                  <a:lumMod val="75000"/>
                </a:schemeClr>
              </a:solidFill>
            </a:endParaRPr>
          </a:p>
        </p:txBody>
      </p:sp>
      <p:pic>
        <p:nvPicPr>
          <p:cNvPr id="15" name="Picture 14" descr="Icon&#10;&#10;Description automatically generated">
            <a:extLst>
              <a:ext uri="{FF2B5EF4-FFF2-40B4-BE49-F238E27FC236}">
                <a16:creationId xmlns:a16="http://schemas.microsoft.com/office/drawing/2014/main" id="{C202BC0E-640C-9F13-FC3A-8BBBE7E21D9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73577" y="6497364"/>
            <a:ext cx="766023" cy="233637"/>
          </a:xfrm>
          <a:prstGeom prst="rect">
            <a:avLst/>
          </a:prstGeom>
        </p:spPr>
      </p:pic>
      <p:sp>
        <p:nvSpPr>
          <p:cNvPr id="3" name="Rektangel 54">
            <a:extLst>
              <a:ext uri="{FF2B5EF4-FFF2-40B4-BE49-F238E27FC236}">
                <a16:creationId xmlns:a16="http://schemas.microsoft.com/office/drawing/2014/main" id="{E5432CF6-DAA0-F958-F162-7F0D9BAB2F8E}"/>
              </a:ext>
            </a:extLst>
          </p:cNvPr>
          <p:cNvSpPr/>
          <p:nvPr/>
        </p:nvSpPr>
        <p:spPr>
          <a:xfrm>
            <a:off x="1009291" y="1673849"/>
            <a:ext cx="4071466" cy="4865421"/>
          </a:xfrm>
          <a:prstGeom prst="rect">
            <a:avLst/>
          </a:prstGeom>
          <a:solidFill>
            <a:srgbClr val="FFFFFF"/>
          </a:solidFill>
          <a:ln w="158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a-DK" sz="1400" b="1" dirty="0">
                <a:solidFill>
                  <a:srgbClr val="002060"/>
                </a:solidFill>
              </a:rPr>
              <a:t>John Frandsen</a:t>
            </a: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da-DK" sz="1400" b="1" dirty="0">
              <a:solidFill>
                <a:srgbClr val="002060"/>
              </a:solidFill>
            </a:endParaRP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da-DK" sz="1400" b="1" dirty="0">
              <a:solidFill>
                <a:srgbClr val="002060"/>
              </a:solidFill>
            </a:endParaRP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a-DK" sz="1400" dirty="0">
                <a:solidFill>
                  <a:srgbClr val="002060"/>
                </a:solidFill>
              </a:rPr>
              <a:t>Danmarkskort med cirkler om de JF-butikker, hvor der har kørt SoMe katalog. </a:t>
            </a: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da-DK" sz="1400" dirty="0">
              <a:solidFill>
                <a:srgbClr val="002060"/>
              </a:solidFill>
            </a:endParaRP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a-DK" sz="1400" dirty="0">
                <a:solidFill>
                  <a:srgbClr val="002060"/>
                </a:solidFill>
              </a:rPr>
              <a:t>Kort + performancedata</a:t>
            </a:r>
            <a:br>
              <a:rPr lang="da-DK" sz="1400" dirty="0">
                <a:solidFill>
                  <a:srgbClr val="002060"/>
                </a:solidFill>
              </a:rPr>
            </a:br>
            <a:br>
              <a:rPr lang="da-DK" sz="1400" dirty="0">
                <a:solidFill>
                  <a:srgbClr val="002060"/>
                </a:solidFill>
              </a:rPr>
            </a:br>
            <a:r>
              <a:rPr lang="da-DK" sz="1400" dirty="0">
                <a:solidFill>
                  <a:srgbClr val="002060"/>
                </a:solidFill>
              </a:rPr>
              <a:t>Formålet er at vise høj CTR i det givne område.    </a:t>
            </a: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da-DK" sz="1400" b="1" dirty="0">
              <a:solidFill>
                <a:srgbClr val="002060"/>
              </a:solidFill>
            </a:endParaRP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a-DK" sz="1400" b="1" dirty="0">
                <a:solidFill>
                  <a:srgbClr val="002060"/>
                </a:solidFill>
              </a:rPr>
              <a:t> </a:t>
            </a: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da-DK" sz="1400" dirty="0">
              <a:solidFill>
                <a:srgbClr val="002060"/>
              </a:solidFill>
            </a:endParaRP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da-DK" sz="1400" dirty="0">
              <a:solidFill>
                <a:srgbClr val="002060"/>
              </a:solidFill>
            </a:endParaRPr>
          </a:p>
        </p:txBody>
      </p:sp>
      <p:sp>
        <p:nvSpPr>
          <p:cNvPr id="17" name="Rektangel 54">
            <a:extLst>
              <a:ext uri="{FF2B5EF4-FFF2-40B4-BE49-F238E27FC236}">
                <a16:creationId xmlns:a16="http://schemas.microsoft.com/office/drawing/2014/main" id="{AF33FBAE-9343-CB33-2F4A-8064AB4598A6}"/>
              </a:ext>
            </a:extLst>
          </p:cNvPr>
          <p:cNvSpPr/>
          <p:nvPr/>
        </p:nvSpPr>
        <p:spPr>
          <a:xfrm>
            <a:off x="5733688" y="1662962"/>
            <a:ext cx="4071466" cy="4865421"/>
          </a:xfrm>
          <a:prstGeom prst="rect">
            <a:avLst/>
          </a:prstGeom>
          <a:solidFill>
            <a:srgbClr val="FFFFFF"/>
          </a:solidFill>
          <a:ln w="158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a-DK" sz="1400" b="1" dirty="0">
                <a:solidFill>
                  <a:srgbClr val="002060"/>
                </a:solidFill>
              </a:rPr>
              <a:t>Realmæglerne </a:t>
            </a: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da-DK" sz="1400" dirty="0">
              <a:solidFill>
                <a:srgbClr val="002060"/>
              </a:solidFill>
            </a:endParaRP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da-DK" sz="1400" dirty="0">
              <a:solidFill>
                <a:srgbClr val="002060"/>
              </a:solidFill>
            </a:endParaRP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a-DK" sz="1400" dirty="0">
                <a:solidFill>
                  <a:srgbClr val="002060"/>
                </a:solidFill>
              </a:rPr>
              <a:t>Danmarkskort med cirkler om de RM-butikker, hvor der har kørt SoMe katalog. </a:t>
            </a: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da-DK" sz="1400" dirty="0">
              <a:solidFill>
                <a:srgbClr val="002060"/>
              </a:solidFill>
            </a:endParaRP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a-DK" sz="1400" dirty="0">
                <a:solidFill>
                  <a:srgbClr val="002060"/>
                </a:solidFill>
              </a:rPr>
              <a:t>Kort + performancedata   </a:t>
            </a: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da-DK" sz="1400" dirty="0">
              <a:solidFill>
                <a:srgbClr val="002060"/>
              </a:solidFill>
            </a:endParaRP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a-DK" sz="1400" dirty="0">
                <a:solidFill>
                  <a:srgbClr val="002060"/>
                </a:solidFill>
              </a:rPr>
              <a:t>Formålet er at vise høj CTR i det givne område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D19527B-AC1A-C82F-013F-B13E5E9778CC}"/>
              </a:ext>
            </a:extLst>
          </p:cNvPr>
          <p:cNvSpPr txBox="1"/>
          <p:nvPr/>
        </p:nvSpPr>
        <p:spPr>
          <a:xfrm rot="950778">
            <a:off x="5733911" y="5269647"/>
            <a:ext cx="374776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1400" dirty="0">
                <a:solidFill>
                  <a:srgbClr val="FFC000"/>
                </a:solidFill>
              </a:rPr>
              <a:t>Afventer data</a:t>
            </a:r>
          </a:p>
          <a:p>
            <a:pPr algn="ctr"/>
            <a:endParaRPr lang="da-DK" sz="1400" dirty="0">
              <a:solidFill>
                <a:srgbClr val="002060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B264F21-61C1-0F20-41C8-3AC31879137D}"/>
              </a:ext>
            </a:extLst>
          </p:cNvPr>
          <p:cNvSpPr txBox="1"/>
          <p:nvPr/>
        </p:nvSpPr>
        <p:spPr>
          <a:xfrm rot="950778">
            <a:off x="836217" y="5304855"/>
            <a:ext cx="374776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1400" dirty="0">
                <a:solidFill>
                  <a:srgbClr val="FFC000"/>
                </a:solidFill>
              </a:rPr>
              <a:t>Afventer data</a:t>
            </a:r>
          </a:p>
          <a:p>
            <a:pPr algn="ctr"/>
            <a:endParaRPr lang="da-DK" sz="14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59261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64232215-5DA1-4934-AEC7-C45A53F98D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7998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64232215-5DA1-4934-AEC7-C45A53F98D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" name="Straight Connector 42">
            <a:extLst>
              <a:ext uri="{FF2B5EF4-FFF2-40B4-BE49-F238E27FC236}">
                <a16:creationId xmlns:a16="http://schemas.microsoft.com/office/drawing/2014/main" id="{26F14B1A-84F7-466D-9573-CC8749B6806F}"/>
              </a:ext>
            </a:extLst>
          </p:cNvPr>
          <p:cNvCxnSpPr>
            <a:cxnSpLocks/>
          </p:cNvCxnSpPr>
          <p:nvPr/>
        </p:nvCxnSpPr>
        <p:spPr>
          <a:xfrm>
            <a:off x="918139" y="856288"/>
            <a:ext cx="8012009" cy="0"/>
          </a:xfrm>
          <a:prstGeom prst="line">
            <a:avLst/>
          </a:prstGeom>
          <a:ln w="9525" cmpd="sng">
            <a:solidFill>
              <a:schemeClr val="tx2"/>
            </a:solidFill>
            <a:prstDash val="solid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itel 2">
            <a:extLst>
              <a:ext uri="{FF2B5EF4-FFF2-40B4-BE49-F238E27FC236}">
                <a16:creationId xmlns:a16="http://schemas.microsoft.com/office/drawing/2014/main" id="{9B88288E-C45D-0CEE-63EF-B034D2EAB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1225" y="223839"/>
            <a:ext cx="10363200" cy="817561"/>
          </a:xfrm>
        </p:spPr>
        <p:txBody>
          <a:bodyPr vert="horz"/>
          <a:lstStyle/>
          <a:p>
            <a:pPr algn="l"/>
            <a:r>
              <a:rPr lang="da-DK" sz="2800" dirty="0">
                <a:solidFill>
                  <a:schemeClr val="accent3">
                    <a:lumMod val="75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oMe katalog (3 annonceeksempler)   </a:t>
            </a:r>
            <a:endParaRPr lang="da-DK" sz="5400" dirty="0">
              <a:solidFill>
                <a:schemeClr val="accent3">
                  <a:lumMod val="75000"/>
                </a:schemeClr>
              </a:solidFill>
            </a:endParaRPr>
          </a:p>
        </p:txBody>
      </p:sp>
      <p:pic>
        <p:nvPicPr>
          <p:cNvPr id="15" name="Picture 14" descr="Icon&#10;&#10;Description automatically generated">
            <a:extLst>
              <a:ext uri="{FF2B5EF4-FFF2-40B4-BE49-F238E27FC236}">
                <a16:creationId xmlns:a16="http://schemas.microsoft.com/office/drawing/2014/main" id="{C202BC0E-640C-9F13-FC3A-8BBBE7E21D9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73577" y="6497364"/>
            <a:ext cx="766023" cy="233637"/>
          </a:xfrm>
          <a:prstGeom prst="rect">
            <a:avLst/>
          </a:prstGeom>
        </p:spPr>
      </p:pic>
      <p:sp>
        <p:nvSpPr>
          <p:cNvPr id="2" name="Rektangel 54">
            <a:extLst>
              <a:ext uri="{FF2B5EF4-FFF2-40B4-BE49-F238E27FC236}">
                <a16:creationId xmlns:a16="http://schemas.microsoft.com/office/drawing/2014/main" id="{3FB49D35-4CDE-EBEA-0692-F5F8C2A09EA1}"/>
              </a:ext>
            </a:extLst>
          </p:cNvPr>
          <p:cNvSpPr/>
          <p:nvPr/>
        </p:nvSpPr>
        <p:spPr>
          <a:xfrm>
            <a:off x="7557527" y="1510876"/>
            <a:ext cx="2376296" cy="3595686"/>
          </a:xfrm>
          <a:prstGeom prst="rect">
            <a:avLst/>
          </a:prstGeom>
          <a:solidFill>
            <a:srgbClr val="FFFFFF"/>
          </a:solidFill>
          <a:ln w="158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pic>
        <p:nvPicPr>
          <p:cNvPr id="4" name="Picture 3" descr="Icon&#10;&#10;Description automatically generated">
            <a:extLst>
              <a:ext uri="{FF2B5EF4-FFF2-40B4-BE49-F238E27FC236}">
                <a16:creationId xmlns:a16="http://schemas.microsoft.com/office/drawing/2014/main" id="{E8B07174-0564-496F-4933-63278EF35A1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4778" y="1648441"/>
            <a:ext cx="428190" cy="130598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6BC38192-EB38-E8FF-2A98-65888D730877}"/>
              </a:ext>
            </a:extLst>
          </p:cNvPr>
          <p:cNvSpPr/>
          <p:nvPr/>
        </p:nvSpPr>
        <p:spPr>
          <a:xfrm>
            <a:off x="7734778" y="2186133"/>
            <a:ext cx="1254855" cy="1915064"/>
          </a:xfrm>
          <a:prstGeom prst="rect">
            <a:avLst/>
          </a:prstGeom>
          <a:solidFill>
            <a:schemeClr val="accent5">
              <a:alpha val="40000"/>
            </a:schemeClr>
          </a:solidFill>
          <a:ln w="15875">
            <a:noFill/>
          </a:ln>
          <a:effectLst>
            <a:outerShdw blurRad="127000" dist="50800" dir="54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dirty="0"/>
              <a:t>SALGS-BUDSKAB</a:t>
            </a:r>
            <a:endParaRPr lang="da-DK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6C1FE3F-6D18-7AD5-B150-CABCCD2A2ECA}"/>
              </a:ext>
            </a:extLst>
          </p:cNvPr>
          <p:cNvSpPr/>
          <p:nvPr/>
        </p:nvSpPr>
        <p:spPr>
          <a:xfrm>
            <a:off x="9151063" y="2186133"/>
            <a:ext cx="1254855" cy="1915064"/>
          </a:xfrm>
          <a:prstGeom prst="rect">
            <a:avLst/>
          </a:prstGeom>
          <a:solidFill>
            <a:schemeClr val="accent5">
              <a:alpha val="40000"/>
            </a:schemeClr>
          </a:solidFill>
          <a:ln w="15875">
            <a:noFill/>
          </a:ln>
          <a:effectLst>
            <a:outerShdw blurRad="127000" dist="50800" dir="54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dirty="0"/>
              <a:t>BOLIG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CC765C5-956E-4AF1-EEA1-BA0D61463E63}"/>
              </a:ext>
            </a:extLst>
          </p:cNvPr>
          <p:cNvSpPr/>
          <p:nvPr/>
        </p:nvSpPr>
        <p:spPr>
          <a:xfrm>
            <a:off x="10842132" y="1729191"/>
            <a:ext cx="1254855" cy="1915064"/>
          </a:xfrm>
          <a:prstGeom prst="rect">
            <a:avLst/>
          </a:prstGeom>
          <a:solidFill>
            <a:schemeClr val="accent5">
              <a:alpha val="40000"/>
            </a:schemeClr>
          </a:solidFill>
          <a:ln w="15875">
            <a:noFill/>
          </a:ln>
          <a:effectLst>
            <a:outerShdw blurRad="127000" dist="50800" dir="54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dirty="0"/>
              <a:t>SALGS-BUDSKAB</a:t>
            </a:r>
            <a:endParaRPr lang="da-DK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F8704A1-6697-4262-1D2B-FFB52E205D4A}"/>
              </a:ext>
            </a:extLst>
          </p:cNvPr>
          <p:cNvSpPr txBox="1"/>
          <p:nvPr/>
        </p:nvSpPr>
        <p:spPr>
          <a:xfrm>
            <a:off x="7998593" y="5193798"/>
            <a:ext cx="3015101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100" b="1" dirty="0">
                <a:solidFill>
                  <a:srgbClr val="002060"/>
                </a:solidFill>
              </a:rPr>
              <a:t>Boliger + Salgsbudskab med en Realmægler</a:t>
            </a:r>
            <a:r>
              <a:rPr lang="da-DK" sz="1100" dirty="0">
                <a:solidFill>
                  <a:srgbClr val="002060"/>
                </a:solidFill>
              </a:rPr>
              <a:t> </a:t>
            </a:r>
            <a:br>
              <a:rPr lang="da-DK" sz="1100" dirty="0">
                <a:solidFill>
                  <a:srgbClr val="002060"/>
                </a:solidFill>
              </a:rPr>
            </a:br>
            <a:r>
              <a:rPr lang="da-DK" sz="1100" dirty="0">
                <a:solidFill>
                  <a:srgbClr val="002060"/>
                </a:solidFill>
              </a:rPr>
              <a:t>Eksempel på et kort i katalog kan indeholde salgsbudskab fra mægler:</a:t>
            </a:r>
          </a:p>
          <a:p>
            <a:endParaRPr lang="da-DK" sz="1100" dirty="0">
              <a:solidFill>
                <a:srgbClr val="002060"/>
              </a:solidFill>
            </a:endParaRPr>
          </a:p>
          <a:p>
            <a:r>
              <a:rPr lang="da-DK" sz="1100" dirty="0">
                <a:solidFill>
                  <a:srgbClr val="002060"/>
                </a:solidFill>
              </a:rPr>
              <a:t>”Skal din bolig vises for mange interesserede køber på denne plads? Kontakt os for en uforpligtende vurdering af din bolig?”</a:t>
            </a:r>
          </a:p>
          <a:p>
            <a:r>
              <a:rPr lang="da-DK" sz="1100" dirty="0">
                <a:solidFill>
                  <a:srgbClr val="002060"/>
                </a:solidFill>
              </a:rPr>
              <a:t>Billede og logo – noget fra Realmæglerne.</a:t>
            </a:r>
          </a:p>
          <a:p>
            <a:endParaRPr lang="da-DK" sz="1100" dirty="0">
              <a:solidFill>
                <a:srgbClr val="002060"/>
              </a:solidFill>
            </a:endParaRPr>
          </a:p>
        </p:txBody>
      </p:sp>
      <p:sp>
        <p:nvSpPr>
          <p:cNvPr id="12" name="Rektangel 54">
            <a:extLst>
              <a:ext uri="{FF2B5EF4-FFF2-40B4-BE49-F238E27FC236}">
                <a16:creationId xmlns:a16="http://schemas.microsoft.com/office/drawing/2014/main" id="{2AAFA9A2-A795-3491-A10C-B5578E06A0B5}"/>
              </a:ext>
            </a:extLst>
          </p:cNvPr>
          <p:cNvSpPr/>
          <p:nvPr/>
        </p:nvSpPr>
        <p:spPr>
          <a:xfrm>
            <a:off x="169326" y="1461406"/>
            <a:ext cx="2376296" cy="3595686"/>
          </a:xfrm>
          <a:prstGeom prst="rect">
            <a:avLst/>
          </a:prstGeom>
          <a:solidFill>
            <a:srgbClr val="FFFFFF"/>
          </a:solidFill>
          <a:ln w="158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pic>
        <p:nvPicPr>
          <p:cNvPr id="13" name="Picture 12" descr="Icon&#10;&#10;Description automatically generated">
            <a:extLst>
              <a:ext uri="{FF2B5EF4-FFF2-40B4-BE49-F238E27FC236}">
                <a16:creationId xmlns:a16="http://schemas.microsoft.com/office/drawing/2014/main" id="{39EEB40D-151E-E2DE-E6C4-5593ECC61C9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6577" y="1598971"/>
            <a:ext cx="428190" cy="130598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13B3DB86-A2C7-8D52-70C2-1B85DD3942CA}"/>
              </a:ext>
            </a:extLst>
          </p:cNvPr>
          <p:cNvSpPr/>
          <p:nvPr/>
        </p:nvSpPr>
        <p:spPr>
          <a:xfrm>
            <a:off x="346577" y="2136663"/>
            <a:ext cx="1254855" cy="1915064"/>
          </a:xfrm>
          <a:prstGeom prst="rect">
            <a:avLst/>
          </a:prstGeom>
          <a:solidFill>
            <a:schemeClr val="accent5">
              <a:alpha val="40000"/>
            </a:schemeClr>
          </a:solidFill>
          <a:ln w="15875">
            <a:noFill/>
          </a:ln>
          <a:effectLst>
            <a:outerShdw blurRad="127000" dist="50800" dir="54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dirty="0"/>
              <a:t>BOLIG</a:t>
            </a:r>
            <a:br>
              <a:rPr lang="da-DK" sz="1400" dirty="0"/>
            </a:br>
            <a:r>
              <a:rPr lang="da-DK" sz="1400" dirty="0"/>
              <a:t>VILLA </a:t>
            </a:r>
            <a:endParaRPr lang="da-DK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3D2DD0A-BFA4-CF05-805F-3B11A39A5FDA}"/>
              </a:ext>
            </a:extLst>
          </p:cNvPr>
          <p:cNvSpPr/>
          <p:nvPr/>
        </p:nvSpPr>
        <p:spPr>
          <a:xfrm>
            <a:off x="1762862" y="2136663"/>
            <a:ext cx="1254855" cy="1915064"/>
          </a:xfrm>
          <a:prstGeom prst="rect">
            <a:avLst/>
          </a:prstGeom>
          <a:solidFill>
            <a:schemeClr val="accent5">
              <a:alpha val="40000"/>
            </a:schemeClr>
          </a:solidFill>
          <a:ln w="15875">
            <a:noFill/>
          </a:ln>
          <a:effectLst>
            <a:outerShdw blurRad="127000" dist="50800" dir="54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dirty="0"/>
              <a:t>BOLIG</a:t>
            </a:r>
            <a:br>
              <a:rPr lang="da-DK" sz="1400" dirty="0"/>
            </a:br>
            <a:r>
              <a:rPr lang="da-DK" sz="1400" dirty="0"/>
              <a:t>LEJLIGHED</a:t>
            </a:r>
          </a:p>
        </p:txBody>
      </p:sp>
      <p:cxnSp>
        <p:nvCxnSpPr>
          <p:cNvPr id="18" name="Curved Connector 17">
            <a:extLst>
              <a:ext uri="{FF2B5EF4-FFF2-40B4-BE49-F238E27FC236}">
                <a16:creationId xmlns:a16="http://schemas.microsoft.com/office/drawing/2014/main" id="{5515E878-E540-73C0-4DFD-BC73C2C1FEDB}"/>
              </a:ext>
            </a:extLst>
          </p:cNvPr>
          <p:cNvCxnSpPr>
            <a:cxnSpLocks/>
            <a:stCxn id="6" idx="0"/>
          </p:cNvCxnSpPr>
          <p:nvPr/>
        </p:nvCxnSpPr>
        <p:spPr>
          <a:xfrm rot="5400000" flipH="1" flipV="1">
            <a:off x="9398622" y="742623"/>
            <a:ext cx="407094" cy="2479926"/>
          </a:xfrm>
          <a:prstGeom prst="curvedConnector2">
            <a:avLst/>
          </a:prstGeom>
          <a:ln w="15875" cmpd="sng">
            <a:solidFill>
              <a:schemeClr val="accent3">
                <a:lumMod val="75000"/>
              </a:schemeClr>
            </a:solidFill>
            <a:prstDash val="solid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FFB6F141-ADC8-C108-CF68-824C4359B91D}"/>
              </a:ext>
            </a:extLst>
          </p:cNvPr>
          <p:cNvSpPr txBox="1"/>
          <p:nvPr/>
        </p:nvSpPr>
        <p:spPr>
          <a:xfrm>
            <a:off x="169327" y="5291734"/>
            <a:ext cx="2376296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100" b="1" dirty="0">
                <a:solidFill>
                  <a:srgbClr val="002060"/>
                </a:solidFill>
              </a:rPr>
              <a:t>Generisk: Blandede boligtyper</a:t>
            </a:r>
            <a:br>
              <a:rPr lang="da-DK" sz="1100" dirty="0">
                <a:solidFill>
                  <a:srgbClr val="002060"/>
                </a:solidFill>
              </a:rPr>
            </a:br>
            <a:r>
              <a:rPr lang="da-DK" sz="1100" dirty="0">
                <a:solidFill>
                  <a:srgbClr val="002060"/>
                </a:solidFill>
              </a:rPr>
              <a:t>Katalog med forskellige boligtyper. </a:t>
            </a:r>
          </a:p>
          <a:p>
            <a:endParaRPr lang="da-DK" sz="1100" dirty="0">
              <a:solidFill>
                <a:srgbClr val="002060"/>
              </a:solidFill>
            </a:endParaRPr>
          </a:p>
        </p:txBody>
      </p:sp>
      <p:sp>
        <p:nvSpPr>
          <p:cNvPr id="21" name="Rektangel 54">
            <a:extLst>
              <a:ext uri="{FF2B5EF4-FFF2-40B4-BE49-F238E27FC236}">
                <a16:creationId xmlns:a16="http://schemas.microsoft.com/office/drawing/2014/main" id="{70B3C121-08B1-0776-0520-764F4863FC8F}"/>
              </a:ext>
            </a:extLst>
          </p:cNvPr>
          <p:cNvSpPr/>
          <p:nvPr/>
        </p:nvSpPr>
        <p:spPr>
          <a:xfrm>
            <a:off x="4133340" y="1459801"/>
            <a:ext cx="2376296" cy="3595686"/>
          </a:xfrm>
          <a:prstGeom prst="rect">
            <a:avLst/>
          </a:prstGeom>
          <a:solidFill>
            <a:srgbClr val="FFFFFF"/>
          </a:solidFill>
          <a:ln w="158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pic>
        <p:nvPicPr>
          <p:cNvPr id="22" name="Picture 21" descr="Icon&#10;&#10;Description automatically generated">
            <a:extLst>
              <a:ext uri="{FF2B5EF4-FFF2-40B4-BE49-F238E27FC236}">
                <a16:creationId xmlns:a16="http://schemas.microsoft.com/office/drawing/2014/main" id="{B7B9BC9A-967D-02A7-F8D9-69CADD84FF6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0591" y="1597366"/>
            <a:ext cx="428190" cy="130598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C96D9508-1195-0C2B-4EC8-1E026FBA58D5}"/>
              </a:ext>
            </a:extLst>
          </p:cNvPr>
          <p:cNvSpPr/>
          <p:nvPr/>
        </p:nvSpPr>
        <p:spPr>
          <a:xfrm>
            <a:off x="4310591" y="2135058"/>
            <a:ext cx="1254855" cy="1915064"/>
          </a:xfrm>
          <a:prstGeom prst="rect">
            <a:avLst/>
          </a:prstGeom>
          <a:solidFill>
            <a:schemeClr val="accent5">
              <a:alpha val="40000"/>
            </a:schemeClr>
          </a:solidFill>
          <a:ln w="15875">
            <a:noFill/>
          </a:ln>
          <a:effectLst>
            <a:outerShdw blurRad="127000" dist="50800" dir="54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200" dirty="0"/>
              <a:t>SOMMERHUS</a:t>
            </a:r>
            <a:endParaRPr lang="da-DK" sz="1600" dirty="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1C43FB75-AE0D-D013-93E8-BE6416B2B341}"/>
              </a:ext>
            </a:extLst>
          </p:cNvPr>
          <p:cNvSpPr/>
          <p:nvPr/>
        </p:nvSpPr>
        <p:spPr>
          <a:xfrm>
            <a:off x="5726876" y="2135058"/>
            <a:ext cx="1254855" cy="1915064"/>
          </a:xfrm>
          <a:prstGeom prst="rect">
            <a:avLst/>
          </a:prstGeom>
          <a:solidFill>
            <a:schemeClr val="accent5">
              <a:alpha val="40000"/>
            </a:schemeClr>
          </a:solidFill>
          <a:ln w="15875">
            <a:noFill/>
          </a:ln>
          <a:effectLst>
            <a:outerShdw blurRad="127000" dist="50800" dir="54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200" dirty="0"/>
              <a:t>SOMMERHU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C3A1FB8-CB98-779B-F3A1-C2A853E901E5}"/>
              </a:ext>
            </a:extLst>
          </p:cNvPr>
          <p:cNvSpPr txBox="1"/>
          <p:nvPr/>
        </p:nvSpPr>
        <p:spPr>
          <a:xfrm>
            <a:off x="4133341" y="5290129"/>
            <a:ext cx="2376296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100" b="1" dirty="0">
                <a:solidFill>
                  <a:srgbClr val="002060"/>
                </a:solidFill>
              </a:rPr>
              <a:t>Boligtype: Sommerhus</a:t>
            </a:r>
            <a:br>
              <a:rPr lang="da-DK" sz="1100" dirty="0">
                <a:solidFill>
                  <a:srgbClr val="002060"/>
                </a:solidFill>
              </a:rPr>
            </a:br>
            <a:r>
              <a:rPr lang="da-DK" sz="1100" dirty="0">
                <a:solidFill>
                  <a:srgbClr val="002060"/>
                </a:solidFill>
              </a:rPr>
              <a:t>Katalog med samme boligtype:</a:t>
            </a:r>
          </a:p>
          <a:p>
            <a:endParaRPr lang="da-DK" sz="1100" dirty="0">
              <a:solidFill>
                <a:srgbClr val="002060"/>
              </a:solidFill>
            </a:endParaRPr>
          </a:p>
          <a:p>
            <a:r>
              <a:rPr lang="da-DK" sz="1100" dirty="0">
                <a:solidFill>
                  <a:srgbClr val="002060"/>
                </a:solidFill>
              </a:rPr>
              <a:t>Sommerhus  </a:t>
            </a:r>
          </a:p>
          <a:p>
            <a:endParaRPr lang="da-DK" sz="1100" dirty="0">
              <a:solidFill>
                <a:srgbClr val="002060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2B511626-D9C5-20C4-D21A-822982951C62}"/>
              </a:ext>
            </a:extLst>
          </p:cNvPr>
          <p:cNvSpPr txBox="1"/>
          <p:nvPr/>
        </p:nvSpPr>
        <p:spPr>
          <a:xfrm rot="950778">
            <a:off x="7522280" y="538057"/>
            <a:ext cx="374776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1400" dirty="0">
                <a:solidFill>
                  <a:srgbClr val="002060"/>
                </a:solidFill>
              </a:rPr>
              <a:t>Design af SoMe eksempler indsat på desktop og mobil  </a:t>
            </a:r>
          </a:p>
          <a:p>
            <a:pPr algn="ctr"/>
            <a:endParaRPr lang="da-DK" sz="14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378837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64232215-5DA1-4934-AEC7-C45A53F98D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26083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64232215-5DA1-4934-AEC7-C45A53F98D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" name="Straight Connector 42">
            <a:extLst>
              <a:ext uri="{FF2B5EF4-FFF2-40B4-BE49-F238E27FC236}">
                <a16:creationId xmlns:a16="http://schemas.microsoft.com/office/drawing/2014/main" id="{26F14B1A-84F7-466D-9573-CC8749B6806F}"/>
              </a:ext>
            </a:extLst>
          </p:cNvPr>
          <p:cNvCxnSpPr>
            <a:cxnSpLocks/>
          </p:cNvCxnSpPr>
          <p:nvPr/>
        </p:nvCxnSpPr>
        <p:spPr>
          <a:xfrm>
            <a:off x="918139" y="856288"/>
            <a:ext cx="8012009" cy="0"/>
          </a:xfrm>
          <a:prstGeom prst="line">
            <a:avLst/>
          </a:prstGeom>
          <a:ln w="9525" cmpd="sng">
            <a:solidFill>
              <a:schemeClr val="tx2"/>
            </a:solidFill>
            <a:prstDash val="solid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itel 2">
            <a:extLst>
              <a:ext uri="{FF2B5EF4-FFF2-40B4-BE49-F238E27FC236}">
                <a16:creationId xmlns:a16="http://schemas.microsoft.com/office/drawing/2014/main" id="{9B88288E-C45D-0CEE-63EF-B034D2EAB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0377" y="126999"/>
            <a:ext cx="10363200" cy="817561"/>
          </a:xfrm>
        </p:spPr>
        <p:txBody>
          <a:bodyPr vert="horz"/>
          <a:lstStyle/>
          <a:p>
            <a:pPr algn="l"/>
            <a:r>
              <a:rPr lang="da-DK" sz="2800" dirty="0">
                <a:solidFill>
                  <a:schemeClr val="accent3">
                    <a:lumMod val="75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DBA: Salgsbudskaber  </a:t>
            </a:r>
            <a:endParaRPr lang="da-DK" sz="5400" dirty="0">
              <a:solidFill>
                <a:schemeClr val="accent3">
                  <a:lumMod val="75000"/>
                </a:schemeClr>
              </a:solidFill>
            </a:endParaRPr>
          </a:p>
        </p:txBody>
      </p:sp>
      <p:pic>
        <p:nvPicPr>
          <p:cNvPr id="15" name="Picture 14" descr="Icon&#10;&#10;Description automatically generated">
            <a:extLst>
              <a:ext uri="{FF2B5EF4-FFF2-40B4-BE49-F238E27FC236}">
                <a16:creationId xmlns:a16="http://schemas.microsoft.com/office/drawing/2014/main" id="{C202BC0E-640C-9F13-FC3A-8BBBE7E21D9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73577" y="6497364"/>
            <a:ext cx="766023" cy="233637"/>
          </a:xfrm>
          <a:prstGeom prst="rect">
            <a:avLst/>
          </a:prstGeom>
        </p:spPr>
      </p:pic>
      <p:sp>
        <p:nvSpPr>
          <p:cNvPr id="29" name="Rektangel 54">
            <a:extLst>
              <a:ext uri="{FF2B5EF4-FFF2-40B4-BE49-F238E27FC236}">
                <a16:creationId xmlns:a16="http://schemas.microsoft.com/office/drawing/2014/main" id="{6B5BC89A-0491-A8DA-85D2-648AB908D2B2}"/>
              </a:ext>
            </a:extLst>
          </p:cNvPr>
          <p:cNvSpPr/>
          <p:nvPr/>
        </p:nvSpPr>
        <p:spPr>
          <a:xfrm>
            <a:off x="1009291" y="1673849"/>
            <a:ext cx="4071466" cy="4865421"/>
          </a:xfrm>
          <a:prstGeom prst="rect">
            <a:avLst/>
          </a:prstGeom>
          <a:solidFill>
            <a:srgbClr val="FFFFFF"/>
          </a:solidFill>
          <a:ln w="158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a-DK" sz="1400" b="1" dirty="0">
                <a:solidFill>
                  <a:srgbClr val="002060"/>
                </a:solidFill>
              </a:rPr>
              <a:t>DBA/Boliga baggrund</a:t>
            </a: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a-DK" sz="1400" b="1" dirty="0">
                <a:solidFill>
                  <a:srgbClr val="002060"/>
                </a:solidFill>
              </a:rPr>
              <a:t>- Kun hos Boliga!  </a:t>
            </a: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da-DK" sz="1400" dirty="0">
              <a:solidFill>
                <a:srgbClr val="002060"/>
              </a:solidFill>
            </a:endParaRP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da-DK" sz="1400" dirty="0">
              <a:solidFill>
                <a:srgbClr val="002060"/>
              </a:solidFill>
            </a:endParaRP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a-DK" sz="1400" dirty="0">
                <a:solidFill>
                  <a:srgbClr val="002060"/>
                </a:solidFill>
              </a:rPr>
              <a:t>Alle boliger til salg på boliga.dk vises under kategorien ”Ejerbolig” på dba.dk. </a:t>
            </a: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da-DK" sz="1400" b="0" i="1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ea typeface="+mn-ea"/>
              <a:cs typeface="+mn-cs"/>
            </a:endParaRP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a-DK" sz="1400" i="1" dirty="0">
                <a:solidFill>
                  <a:srgbClr val="002060"/>
                </a:solidFill>
              </a:rPr>
              <a:t>Evt noget om DBA: markedsposition, kendskab, månedlige brugere etc.? </a:t>
            </a: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da-DK" sz="14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ea typeface="+mn-ea"/>
              <a:cs typeface="+mn-cs"/>
            </a:endParaRP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a-DK" sz="1400" dirty="0">
                <a:solidFill>
                  <a:srgbClr val="002060"/>
                </a:solidFill>
              </a:rPr>
              <a:t>Aktuelt er Boliga den eneste professionelle operatør, der udstiller til boliger til salg på dba.dk.</a:t>
            </a: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da-DK" sz="14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ea typeface="+mn-ea"/>
              <a:cs typeface="+mn-cs"/>
            </a:endParaRP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a-DK" sz="1400" dirty="0">
                <a:solidFill>
                  <a:srgbClr val="002060"/>
                </a:solidFill>
              </a:rPr>
              <a:t>Boligannoncer, der indgår i en marketingpakke fra Boliga vil på dba.dk få flere visninger, bedre placeringer og grafiske fremhævninger. </a:t>
            </a:r>
            <a:endParaRPr kumimoji="0" lang="da-DK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BE2F188-63BB-9958-5D17-938BC4D1D453}"/>
              </a:ext>
            </a:extLst>
          </p:cNvPr>
          <p:cNvSpPr txBox="1"/>
          <p:nvPr/>
        </p:nvSpPr>
        <p:spPr>
          <a:xfrm rot="950778">
            <a:off x="8497114" y="1205892"/>
            <a:ext cx="374776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1400" dirty="0">
                <a:solidFill>
                  <a:srgbClr val="002060"/>
                </a:solidFill>
              </a:rPr>
              <a:t>Design af DBA Salgsbudskaber med eksempler indsat på desktop og mobil  </a:t>
            </a:r>
          </a:p>
          <a:p>
            <a:pPr algn="ctr"/>
            <a:endParaRPr lang="da-DK" sz="1400" dirty="0">
              <a:solidFill>
                <a:srgbClr val="002060"/>
              </a:solidFill>
            </a:endParaRPr>
          </a:p>
        </p:txBody>
      </p:sp>
      <p:sp>
        <p:nvSpPr>
          <p:cNvPr id="4" name="Rektangel 54">
            <a:extLst>
              <a:ext uri="{FF2B5EF4-FFF2-40B4-BE49-F238E27FC236}">
                <a16:creationId xmlns:a16="http://schemas.microsoft.com/office/drawing/2014/main" id="{D486301A-07CD-C547-CE42-6826AFB3E240}"/>
              </a:ext>
            </a:extLst>
          </p:cNvPr>
          <p:cNvSpPr/>
          <p:nvPr/>
        </p:nvSpPr>
        <p:spPr>
          <a:xfrm>
            <a:off x="5690144" y="1662963"/>
            <a:ext cx="4071466" cy="4865421"/>
          </a:xfrm>
          <a:prstGeom prst="rect">
            <a:avLst/>
          </a:prstGeom>
          <a:solidFill>
            <a:srgbClr val="FFFFFF"/>
          </a:solidFill>
          <a:ln w="158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a-DK" sz="1400" b="1" dirty="0">
                <a:solidFill>
                  <a:srgbClr val="002060"/>
                </a:solidFill>
              </a:rPr>
              <a:t>DBA performance </a:t>
            </a: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da-DK" sz="1400" dirty="0">
              <a:solidFill>
                <a:srgbClr val="002060"/>
              </a:solidFill>
            </a:endParaRP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da-DK" sz="1400" dirty="0">
              <a:solidFill>
                <a:srgbClr val="002060"/>
              </a:solidFill>
            </a:endParaRP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a-DK" sz="1400" dirty="0">
                <a:solidFill>
                  <a:srgbClr val="002060"/>
                </a:solidFill>
              </a:rPr>
              <a:t>Boliga-boligannoncer på dba.dk pr. måned:</a:t>
            </a: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da-DK" sz="1400" dirty="0">
              <a:solidFill>
                <a:srgbClr val="002060"/>
              </a:solidFill>
            </a:endParaRP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400" b="0" i="0" u="none" strike="noStrike" dirty="0">
                <a:solidFill>
                  <a:srgbClr val="002060"/>
                </a:solidFill>
                <a:effectLst/>
              </a:rPr>
              <a:t>350.000 annoncevisninger </a:t>
            </a:r>
            <a:endParaRPr lang="da-DK" sz="1400" dirty="0">
              <a:solidFill>
                <a:srgbClr val="002060"/>
              </a:solidFill>
            </a:endParaRP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GB" sz="1400" dirty="0">
              <a:solidFill>
                <a:srgbClr val="002060"/>
              </a:solidFill>
            </a:endParaRP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400" b="0" i="0" u="none" strike="noStrike" dirty="0">
                <a:solidFill>
                  <a:srgbClr val="002060"/>
                </a:solidFill>
                <a:effectLst/>
              </a:rPr>
              <a:t>77.000 klik til boliga.dk </a:t>
            </a: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GB" sz="1400" dirty="0">
              <a:solidFill>
                <a:srgbClr val="002060"/>
              </a:solidFill>
            </a:endParaRP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400" b="0" i="0" u="none" strike="noStrike" dirty="0">
                <a:solidFill>
                  <a:srgbClr val="002060"/>
                </a:solidFill>
                <a:effectLst/>
              </a:rPr>
              <a:t>4.000 favorit-markering </a:t>
            </a:r>
            <a:r>
              <a:rPr lang="da-DK" sz="1400" dirty="0">
                <a:solidFill>
                  <a:srgbClr val="002060"/>
                </a:solidFill>
              </a:rPr>
              <a:t> </a:t>
            </a: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a-DK" sz="14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da-DK" sz="1400" dirty="0">
              <a:solidFill>
                <a:srgbClr val="002060"/>
              </a:solidFill>
            </a:endParaRP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+mn-ea"/>
                <a:cs typeface="+mn-cs"/>
              </a:rPr>
              <a:t>Det er muligt at oplyse månedlige visninger og klik til boliga.dk fra dba.dk for boliger, der indgår i </a:t>
            </a:r>
            <a:r>
              <a:rPr lang="da-DK" sz="1400" dirty="0">
                <a:solidFill>
                  <a:srgbClr val="002060"/>
                </a:solidFill>
              </a:rPr>
              <a:t>marketingpakken. </a:t>
            </a:r>
            <a:endParaRPr kumimoji="0" lang="da-DK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pic>
        <p:nvPicPr>
          <p:cNvPr id="1026" name="Picture 2" descr="Hjælpe - DBA">
            <a:extLst>
              <a:ext uri="{FF2B5EF4-FFF2-40B4-BE49-F238E27FC236}">
                <a16:creationId xmlns:a16="http://schemas.microsoft.com/office/drawing/2014/main" id="{196CDE81-D665-23C0-2B4D-65F499DFA8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88930" y="1567435"/>
            <a:ext cx="1130496" cy="485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4097759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64232215-5DA1-4934-AEC7-C45A53F98D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922421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64232215-5DA1-4934-AEC7-C45A53F98D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" name="Straight Connector 42">
            <a:extLst>
              <a:ext uri="{FF2B5EF4-FFF2-40B4-BE49-F238E27FC236}">
                <a16:creationId xmlns:a16="http://schemas.microsoft.com/office/drawing/2014/main" id="{26F14B1A-84F7-466D-9573-CC8749B6806F}"/>
              </a:ext>
            </a:extLst>
          </p:cNvPr>
          <p:cNvCxnSpPr>
            <a:cxnSpLocks/>
          </p:cNvCxnSpPr>
          <p:nvPr/>
        </p:nvCxnSpPr>
        <p:spPr>
          <a:xfrm>
            <a:off x="918139" y="856288"/>
            <a:ext cx="8012009" cy="0"/>
          </a:xfrm>
          <a:prstGeom prst="line">
            <a:avLst/>
          </a:prstGeom>
          <a:ln w="9525" cmpd="sng">
            <a:solidFill>
              <a:schemeClr val="tx2"/>
            </a:solidFill>
            <a:prstDash val="solid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itel 2">
            <a:extLst>
              <a:ext uri="{FF2B5EF4-FFF2-40B4-BE49-F238E27FC236}">
                <a16:creationId xmlns:a16="http://schemas.microsoft.com/office/drawing/2014/main" id="{9B88288E-C45D-0CEE-63EF-B034D2EAB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1225" y="223839"/>
            <a:ext cx="10363200" cy="817561"/>
          </a:xfrm>
        </p:spPr>
        <p:txBody>
          <a:bodyPr vert="horz"/>
          <a:lstStyle/>
          <a:p>
            <a:pPr algn="l"/>
            <a:r>
              <a:rPr lang="da-DK" sz="2800" dirty="0">
                <a:solidFill>
                  <a:schemeClr val="accent3">
                    <a:lumMod val="75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DBA: Annonceeksempler   </a:t>
            </a:r>
            <a:endParaRPr lang="da-DK" sz="5400" dirty="0">
              <a:solidFill>
                <a:schemeClr val="accent3">
                  <a:lumMod val="75000"/>
                </a:schemeClr>
              </a:solidFill>
            </a:endParaRPr>
          </a:p>
        </p:txBody>
      </p:sp>
      <p:pic>
        <p:nvPicPr>
          <p:cNvPr id="15" name="Picture 14" descr="Icon&#10;&#10;Description automatically generated">
            <a:extLst>
              <a:ext uri="{FF2B5EF4-FFF2-40B4-BE49-F238E27FC236}">
                <a16:creationId xmlns:a16="http://schemas.microsoft.com/office/drawing/2014/main" id="{C202BC0E-640C-9F13-FC3A-8BBBE7E21D9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73577" y="6497364"/>
            <a:ext cx="766023" cy="233637"/>
          </a:xfrm>
          <a:prstGeom prst="rect">
            <a:avLst/>
          </a:prstGeom>
        </p:spPr>
      </p:pic>
      <p:sp>
        <p:nvSpPr>
          <p:cNvPr id="29" name="Rektangel 54">
            <a:extLst>
              <a:ext uri="{FF2B5EF4-FFF2-40B4-BE49-F238E27FC236}">
                <a16:creationId xmlns:a16="http://schemas.microsoft.com/office/drawing/2014/main" id="{6B5BC89A-0491-A8DA-85D2-648AB908D2B2}"/>
              </a:ext>
            </a:extLst>
          </p:cNvPr>
          <p:cNvSpPr/>
          <p:nvPr/>
        </p:nvSpPr>
        <p:spPr>
          <a:xfrm>
            <a:off x="1009291" y="5793759"/>
            <a:ext cx="4071466" cy="745511"/>
          </a:xfrm>
          <a:prstGeom prst="rect">
            <a:avLst/>
          </a:prstGeom>
          <a:solidFill>
            <a:srgbClr val="FFFFFF"/>
          </a:solidFill>
          <a:ln w="158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marR="0" lvl="0" indent="-1714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lang="da-DK" sz="1100">
                <a:solidFill>
                  <a:schemeClr val="accent3">
                    <a:lumMod val="75000"/>
                  </a:schemeClr>
                </a:solidFill>
                <a:latin typeface="Arial"/>
              </a:rPr>
              <a:t>Bolig kategoriside </a:t>
            </a:r>
            <a:endParaRPr kumimoji="0" lang="da-DK" sz="14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32" name="Picture 31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D87F512E-1427-F80F-3F92-8B80730C385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06521" y="1322360"/>
            <a:ext cx="5756715" cy="4421476"/>
          </a:xfrm>
          <a:prstGeom prst="rect">
            <a:avLst/>
          </a:prstGeom>
        </p:spPr>
      </p:pic>
      <p:pic>
        <p:nvPicPr>
          <p:cNvPr id="40" name="Picture 39" descr="Graphical user interface, application, website&#10;&#10;Description automatically generated">
            <a:extLst>
              <a:ext uri="{FF2B5EF4-FFF2-40B4-BE49-F238E27FC236}">
                <a16:creationId xmlns:a16="http://schemas.microsoft.com/office/drawing/2014/main" id="{623195FC-10F9-ED01-8693-D93F0B10B05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388801" y="1963266"/>
            <a:ext cx="5510592" cy="4232441"/>
          </a:xfrm>
          <a:prstGeom prst="rect">
            <a:avLst/>
          </a:prstGeom>
        </p:spPr>
      </p:pic>
      <p:sp>
        <p:nvSpPr>
          <p:cNvPr id="33" name="Rektangel 54">
            <a:extLst>
              <a:ext uri="{FF2B5EF4-FFF2-40B4-BE49-F238E27FC236}">
                <a16:creationId xmlns:a16="http://schemas.microsoft.com/office/drawing/2014/main" id="{0C82FD7B-386E-B5E1-ABC8-C05053E96B28}"/>
              </a:ext>
            </a:extLst>
          </p:cNvPr>
          <p:cNvSpPr/>
          <p:nvPr/>
        </p:nvSpPr>
        <p:spPr>
          <a:xfrm>
            <a:off x="6544903" y="5790883"/>
            <a:ext cx="4071466" cy="745511"/>
          </a:xfrm>
          <a:prstGeom prst="rect">
            <a:avLst/>
          </a:prstGeom>
          <a:solidFill>
            <a:srgbClr val="FFFFFF"/>
          </a:solidFill>
          <a:ln w="158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marR="0" lvl="0" indent="-1714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lang="da-DK" sz="1100">
                <a:solidFill>
                  <a:schemeClr val="accent3">
                    <a:lumMod val="75000"/>
                  </a:schemeClr>
                </a:solidFill>
                <a:latin typeface="Arial"/>
              </a:rPr>
              <a:t>Listevisning </a:t>
            </a:r>
            <a:r>
              <a:rPr kumimoji="0" lang="da-DK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3894008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64232215-5DA1-4934-AEC7-C45A53F98D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849592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64232215-5DA1-4934-AEC7-C45A53F98D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" name="Straight Connector 42">
            <a:extLst>
              <a:ext uri="{FF2B5EF4-FFF2-40B4-BE49-F238E27FC236}">
                <a16:creationId xmlns:a16="http://schemas.microsoft.com/office/drawing/2014/main" id="{26F14B1A-84F7-466D-9573-CC8749B6806F}"/>
              </a:ext>
            </a:extLst>
          </p:cNvPr>
          <p:cNvCxnSpPr>
            <a:cxnSpLocks/>
          </p:cNvCxnSpPr>
          <p:nvPr/>
        </p:nvCxnSpPr>
        <p:spPr>
          <a:xfrm>
            <a:off x="918139" y="856288"/>
            <a:ext cx="8012009" cy="0"/>
          </a:xfrm>
          <a:prstGeom prst="line">
            <a:avLst/>
          </a:prstGeom>
          <a:ln w="9525" cmpd="sng">
            <a:solidFill>
              <a:schemeClr val="tx2"/>
            </a:solidFill>
            <a:prstDash val="solid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itel 2">
            <a:extLst>
              <a:ext uri="{FF2B5EF4-FFF2-40B4-BE49-F238E27FC236}">
                <a16:creationId xmlns:a16="http://schemas.microsoft.com/office/drawing/2014/main" id="{9B88288E-C45D-0CEE-63EF-B034D2EAB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1225" y="223839"/>
            <a:ext cx="10363200" cy="817561"/>
          </a:xfrm>
        </p:spPr>
        <p:txBody>
          <a:bodyPr vert="horz"/>
          <a:lstStyle/>
          <a:p>
            <a:pPr algn="l"/>
            <a:r>
              <a:rPr lang="da-DK" sz="2800">
                <a:solidFill>
                  <a:schemeClr val="accent3">
                    <a:lumMod val="75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DBA boligvisningside  </a:t>
            </a:r>
            <a:endParaRPr lang="da-DK" sz="5400">
              <a:solidFill>
                <a:schemeClr val="accent3">
                  <a:lumMod val="75000"/>
                </a:schemeClr>
              </a:solidFill>
            </a:endParaRPr>
          </a:p>
        </p:txBody>
      </p:sp>
      <p:pic>
        <p:nvPicPr>
          <p:cNvPr id="15" name="Picture 14" descr="Icon&#10;&#10;Description automatically generated">
            <a:extLst>
              <a:ext uri="{FF2B5EF4-FFF2-40B4-BE49-F238E27FC236}">
                <a16:creationId xmlns:a16="http://schemas.microsoft.com/office/drawing/2014/main" id="{C202BC0E-640C-9F13-FC3A-8BBBE7E21D9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73577" y="6497364"/>
            <a:ext cx="766023" cy="233637"/>
          </a:xfrm>
          <a:prstGeom prst="rect">
            <a:avLst/>
          </a:prstGeom>
        </p:spPr>
      </p:pic>
      <p:pic>
        <p:nvPicPr>
          <p:cNvPr id="24" name="Picture 23" descr="Graphical user interface, application, website&#10;&#10;Description automatically generated">
            <a:extLst>
              <a:ext uri="{FF2B5EF4-FFF2-40B4-BE49-F238E27FC236}">
                <a16:creationId xmlns:a16="http://schemas.microsoft.com/office/drawing/2014/main" id="{3D4FF13B-3476-6226-229F-4A43D2858D6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3718" y="1673849"/>
            <a:ext cx="6236379" cy="3313076"/>
          </a:xfrm>
          <a:prstGeom prst="rect">
            <a:avLst/>
          </a:prstGeom>
        </p:spPr>
      </p:pic>
      <p:pic>
        <p:nvPicPr>
          <p:cNvPr id="2" name="Picture 1" descr="Graphical user interface, application, website&#10;&#10;Description automatically generated">
            <a:extLst>
              <a:ext uri="{FF2B5EF4-FFF2-40B4-BE49-F238E27FC236}">
                <a16:creationId xmlns:a16="http://schemas.microsoft.com/office/drawing/2014/main" id="{569232D9-28CD-DE73-7932-748B2CED708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704074" y="1676813"/>
            <a:ext cx="6493181" cy="3449502"/>
          </a:xfrm>
          <a:prstGeom prst="rect">
            <a:avLst/>
          </a:prstGeom>
        </p:spPr>
      </p:pic>
      <p:sp>
        <p:nvSpPr>
          <p:cNvPr id="3" name="Rektangel 54">
            <a:extLst>
              <a:ext uri="{FF2B5EF4-FFF2-40B4-BE49-F238E27FC236}">
                <a16:creationId xmlns:a16="http://schemas.microsoft.com/office/drawing/2014/main" id="{998BF579-8DD6-B855-A065-EE21799179EF}"/>
              </a:ext>
            </a:extLst>
          </p:cNvPr>
          <p:cNvSpPr/>
          <p:nvPr/>
        </p:nvSpPr>
        <p:spPr>
          <a:xfrm>
            <a:off x="-89647" y="4768897"/>
            <a:ext cx="12308541" cy="745511"/>
          </a:xfrm>
          <a:prstGeom prst="rect">
            <a:avLst/>
          </a:prstGeom>
          <a:solidFill>
            <a:srgbClr val="FFFFFF"/>
          </a:solidFill>
          <a:ln w="158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da-DK" sz="1100" b="0" i="0" u="none" strike="noStrike" kern="1200" cap="none" spc="0" normalizeH="0" baseline="0" noProof="0">
                <a:ln>
                  <a:noFill/>
                </a:ln>
                <a:solidFill>
                  <a:schemeClr val="accent3">
                    <a:lumMod val="7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remhævet tekstbanner </a:t>
            </a: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a-DK" sz="1100">
                <a:solidFill>
                  <a:schemeClr val="accent3">
                    <a:lumMod val="75000"/>
                  </a:schemeClr>
                </a:solidFill>
                <a:latin typeface="Arial"/>
              </a:rPr>
              <a:t>B</a:t>
            </a:r>
            <a:r>
              <a:rPr kumimoji="0" lang="da-DK" sz="1100" b="0" i="0" u="none" strike="noStrike" kern="1200" cap="none" spc="0" normalizeH="0" baseline="0" noProof="0" err="1">
                <a:ln>
                  <a:noFill/>
                </a:ln>
                <a:solidFill>
                  <a:schemeClr val="accent3">
                    <a:lumMod val="7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ligvisningsside</a:t>
            </a:r>
            <a:endParaRPr kumimoji="0" lang="da-DK" sz="1100" b="0" i="0" u="none" strike="noStrike" kern="1200" cap="none" spc="0" normalizeH="0" baseline="0" noProof="0">
              <a:ln>
                <a:noFill/>
              </a:ln>
              <a:solidFill>
                <a:schemeClr val="accent3">
                  <a:lumMod val="75000"/>
                </a:scheme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461628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64232215-5DA1-4934-AEC7-C45A53F98D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96140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64232215-5DA1-4934-AEC7-C45A53F98D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" name="Straight Connector 42">
            <a:extLst>
              <a:ext uri="{FF2B5EF4-FFF2-40B4-BE49-F238E27FC236}">
                <a16:creationId xmlns:a16="http://schemas.microsoft.com/office/drawing/2014/main" id="{26F14B1A-84F7-466D-9573-CC8749B6806F}"/>
              </a:ext>
            </a:extLst>
          </p:cNvPr>
          <p:cNvCxnSpPr>
            <a:cxnSpLocks/>
          </p:cNvCxnSpPr>
          <p:nvPr/>
        </p:nvCxnSpPr>
        <p:spPr>
          <a:xfrm>
            <a:off x="918139" y="856288"/>
            <a:ext cx="8012009" cy="0"/>
          </a:xfrm>
          <a:prstGeom prst="line">
            <a:avLst/>
          </a:prstGeom>
          <a:ln w="9525" cmpd="sng">
            <a:solidFill>
              <a:schemeClr val="tx2"/>
            </a:solidFill>
            <a:prstDash val="solid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itel 2">
            <a:extLst>
              <a:ext uri="{FF2B5EF4-FFF2-40B4-BE49-F238E27FC236}">
                <a16:creationId xmlns:a16="http://schemas.microsoft.com/office/drawing/2014/main" id="{9B88288E-C45D-0CEE-63EF-B034D2EAB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0377" y="307844"/>
            <a:ext cx="10363200" cy="817561"/>
          </a:xfrm>
        </p:spPr>
        <p:txBody>
          <a:bodyPr vert="horz"/>
          <a:lstStyle/>
          <a:p>
            <a:pPr algn="l"/>
            <a:r>
              <a:rPr lang="da-DK" sz="2800" dirty="0">
                <a:solidFill>
                  <a:schemeClr val="accent3">
                    <a:lumMod val="75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Boliga: Salgsmateriale      </a:t>
            </a:r>
            <a:endParaRPr lang="da-DK" sz="5400" dirty="0">
              <a:solidFill>
                <a:schemeClr val="accent3">
                  <a:lumMod val="75000"/>
                </a:schemeClr>
              </a:solidFill>
            </a:endParaRPr>
          </a:p>
        </p:txBody>
      </p:sp>
      <p:pic>
        <p:nvPicPr>
          <p:cNvPr id="15" name="Picture 14" descr="Icon&#10;&#10;Description automatically generated">
            <a:extLst>
              <a:ext uri="{FF2B5EF4-FFF2-40B4-BE49-F238E27FC236}">
                <a16:creationId xmlns:a16="http://schemas.microsoft.com/office/drawing/2014/main" id="{C202BC0E-640C-9F13-FC3A-8BBBE7E21D9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73577" y="6497364"/>
            <a:ext cx="766023" cy="233637"/>
          </a:xfrm>
          <a:prstGeom prst="rect">
            <a:avLst/>
          </a:prstGeom>
        </p:spPr>
      </p:pic>
      <p:sp>
        <p:nvSpPr>
          <p:cNvPr id="3" name="Rektangel 54">
            <a:extLst>
              <a:ext uri="{FF2B5EF4-FFF2-40B4-BE49-F238E27FC236}">
                <a16:creationId xmlns:a16="http://schemas.microsoft.com/office/drawing/2014/main" id="{C9E8BC80-0821-5E4E-0FEE-E0F00C911A0A}"/>
              </a:ext>
            </a:extLst>
          </p:cNvPr>
          <p:cNvSpPr/>
          <p:nvPr/>
        </p:nvSpPr>
        <p:spPr>
          <a:xfrm>
            <a:off x="1009291" y="1673849"/>
            <a:ext cx="4071466" cy="4865421"/>
          </a:xfrm>
          <a:prstGeom prst="rect">
            <a:avLst/>
          </a:prstGeom>
          <a:solidFill>
            <a:srgbClr val="FFFFFF"/>
          </a:solidFill>
          <a:ln w="158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a-DK" sz="1400" b="1" dirty="0">
                <a:solidFill>
                  <a:srgbClr val="002060"/>
                </a:solidFill>
              </a:rPr>
              <a:t>Boliga forsiden </a:t>
            </a: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a-DK" sz="1400" b="1" dirty="0">
                <a:solidFill>
                  <a:srgbClr val="002060"/>
                </a:solidFill>
              </a:rPr>
              <a:t>- Kun hos Boliga!  </a:t>
            </a: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da-DK" sz="1400" dirty="0">
              <a:solidFill>
                <a:srgbClr val="002060"/>
              </a:solidFill>
            </a:endParaRP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da-DK" sz="1400" dirty="0">
              <a:solidFill>
                <a:srgbClr val="002060"/>
              </a:solidFill>
            </a:endParaRP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a-DK" sz="1400" dirty="0">
                <a:solidFill>
                  <a:srgbClr val="002060"/>
                </a:solidFill>
              </a:rPr>
              <a:t>Få din bolig på forsiden af boliga.dk – Danmarks største uafhængige boligsite. </a:t>
            </a: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da-DK" sz="1400" dirty="0">
              <a:solidFill>
                <a:srgbClr val="002060"/>
              </a:solidFill>
            </a:endParaRP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a-DK" sz="1400" dirty="0">
                <a:solidFill>
                  <a:srgbClr val="002060"/>
                </a:solidFill>
              </a:rPr>
              <a:t>Boliga er købernes foretrukne site og derfor rammer en boligannonce på forsiden typisk mange potentielle købere. </a:t>
            </a:r>
            <a:endParaRPr kumimoji="0" lang="da-DK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6" name="Rektangel 54">
            <a:extLst>
              <a:ext uri="{FF2B5EF4-FFF2-40B4-BE49-F238E27FC236}">
                <a16:creationId xmlns:a16="http://schemas.microsoft.com/office/drawing/2014/main" id="{E6E8966C-0D45-DB56-5E2B-0FBF4540DE44}"/>
              </a:ext>
            </a:extLst>
          </p:cNvPr>
          <p:cNvSpPr/>
          <p:nvPr/>
        </p:nvSpPr>
        <p:spPr>
          <a:xfrm>
            <a:off x="6288859" y="1684735"/>
            <a:ext cx="4071466" cy="4865421"/>
          </a:xfrm>
          <a:prstGeom prst="rect">
            <a:avLst/>
          </a:prstGeom>
          <a:solidFill>
            <a:srgbClr val="FFFFFF"/>
          </a:solidFill>
          <a:ln w="158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a-DK" sz="1400" b="1" dirty="0">
                <a:solidFill>
                  <a:srgbClr val="002060"/>
                </a:solidFill>
              </a:rPr>
              <a:t>Boliga performance  </a:t>
            </a: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da-DK" sz="1400" dirty="0">
              <a:solidFill>
                <a:srgbClr val="002060"/>
              </a:solidFill>
            </a:endParaRP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da-DK" sz="1400" dirty="0">
              <a:solidFill>
                <a:srgbClr val="002060"/>
              </a:solidFill>
            </a:endParaRP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a-DK" sz="1400" dirty="0">
                <a:solidFill>
                  <a:srgbClr val="002060"/>
                </a:solidFill>
              </a:rPr>
              <a:t>Boliga.dk har ca. 2 mio. besøg om måneden og et stort køberkartotek med mange interesserede købere.</a:t>
            </a: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da-DK" sz="1400" dirty="0">
              <a:solidFill>
                <a:srgbClr val="002060"/>
              </a:solidFill>
            </a:endParaRP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a-DK" sz="1400" dirty="0">
                <a:solidFill>
                  <a:srgbClr val="002060"/>
                </a:solidFill>
              </a:rPr>
              <a:t>På forsiden af boliga.dk er der ca. 800.000 sidevisninger pr. md..  </a:t>
            </a: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da-DK" sz="1400" dirty="0">
              <a:solidFill>
                <a:srgbClr val="002060"/>
              </a:solidFill>
            </a:endParaRP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a-DK" sz="1400" dirty="0">
                <a:solidFill>
                  <a:srgbClr val="002060"/>
                </a:solidFill>
              </a:rPr>
              <a:t>På en boligsagsvisning på boliga.dk har der ca. 750.000 besøg pr. md.  </a:t>
            </a: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da-DK" sz="14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ea typeface="+mn-ea"/>
              <a:cs typeface="+mn-cs"/>
            </a:endParaRP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da-DK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FE31AC0-B4FB-907E-7EF6-A585D7354BA4}"/>
              </a:ext>
            </a:extLst>
          </p:cNvPr>
          <p:cNvSpPr txBox="1"/>
          <p:nvPr/>
        </p:nvSpPr>
        <p:spPr>
          <a:xfrm rot="950778">
            <a:off x="8497114" y="1205892"/>
            <a:ext cx="374776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1400" dirty="0">
                <a:solidFill>
                  <a:srgbClr val="002060"/>
                </a:solidFill>
              </a:rPr>
              <a:t>Design af Boliga Salgsbudskaber med eksempler indsat på desktop og mobil  </a:t>
            </a:r>
          </a:p>
          <a:p>
            <a:pPr algn="ctr"/>
            <a:endParaRPr lang="da-DK" sz="1400" dirty="0">
              <a:solidFill>
                <a:srgbClr val="002060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8A8709D-F31C-8F2F-237E-E0B5A4238D27}"/>
              </a:ext>
            </a:extLst>
          </p:cNvPr>
          <p:cNvSpPr txBox="1"/>
          <p:nvPr/>
        </p:nvSpPr>
        <p:spPr>
          <a:xfrm rot="950778">
            <a:off x="6593594" y="5717097"/>
            <a:ext cx="374776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1400" dirty="0">
                <a:solidFill>
                  <a:srgbClr val="FFC000"/>
                </a:solidFill>
              </a:rPr>
              <a:t>Kan vi får eksempel fra BVS evt BBR med også?</a:t>
            </a:r>
          </a:p>
          <a:p>
            <a:pPr algn="ctr"/>
            <a:endParaRPr lang="da-DK" sz="14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145911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64232215-5DA1-4934-AEC7-C45A53F98D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7236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64232215-5DA1-4934-AEC7-C45A53F98D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" name="Straight Connector 42">
            <a:extLst>
              <a:ext uri="{FF2B5EF4-FFF2-40B4-BE49-F238E27FC236}">
                <a16:creationId xmlns:a16="http://schemas.microsoft.com/office/drawing/2014/main" id="{26F14B1A-84F7-466D-9573-CC8749B6806F}"/>
              </a:ext>
            </a:extLst>
          </p:cNvPr>
          <p:cNvCxnSpPr>
            <a:cxnSpLocks/>
          </p:cNvCxnSpPr>
          <p:nvPr/>
        </p:nvCxnSpPr>
        <p:spPr>
          <a:xfrm>
            <a:off x="918139" y="856288"/>
            <a:ext cx="8012009" cy="0"/>
          </a:xfrm>
          <a:prstGeom prst="line">
            <a:avLst/>
          </a:prstGeom>
          <a:ln w="9525" cmpd="sng">
            <a:solidFill>
              <a:schemeClr val="tx2"/>
            </a:solidFill>
            <a:prstDash val="solid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itel 2">
            <a:extLst>
              <a:ext uri="{FF2B5EF4-FFF2-40B4-BE49-F238E27FC236}">
                <a16:creationId xmlns:a16="http://schemas.microsoft.com/office/drawing/2014/main" id="{9B88288E-C45D-0CEE-63EF-B034D2EAB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1225" y="223839"/>
            <a:ext cx="10363200" cy="817561"/>
          </a:xfrm>
        </p:spPr>
        <p:txBody>
          <a:bodyPr vert="horz"/>
          <a:lstStyle/>
          <a:p>
            <a:pPr algn="l"/>
            <a:r>
              <a:rPr lang="da-DK" sz="2800" dirty="0">
                <a:solidFill>
                  <a:schemeClr val="accent3">
                    <a:lumMod val="75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Boliga eksempler     </a:t>
            </a:r>
            <a:endParaRPr lang="da-DK" sz="5400" dirty="0">
              <a:solidFill>
                <a:schemeClr val="accent3">
                  <a:lumMod val="75000"/>
                </a:schemeClr>
              </a:solidFill>
            </a:endParaRPr>
          </a:p>
        </p:txBody>
      </p:sp>
      <p:pic>
        <p:nvPicPr>
          <p:cNvPr id="15" name="Picture 14" descr="Icon&#10;&#10;Description automatically generated">
            <a:extLst>
              <a:ext uri="{FF2B5EF4-FFF2-40B4-BE49-F238E27FC236}">
                <a16:creationId xmlns:a16="http://schemas.microsoft.com/office/drawing/2014/main" id="{C202BC0E-640C-9F13-FC3A-8BBBE7E21D9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73577" y="6497364"/>
            <a:ext cx="766023" cy="233637"/>
          </a:xfrm>
          <a:prstGeom prst="rect">
            <a:avLst/>
          </a:prstGeom>
        </p:spPr>
      </p:pic>
      <p:pic>
        <p:nvPicPr>
          <p:cNvPr id="10" name="Picture 9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0AD1D19D-6224-800D-F1A6-338B263C627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24216" y="2195702"/>
            <a:ext cx="9658377" cy="3344486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7324A8FC-3E9C-3710-DE47-ED530932ED50}"/>
              </a:ext>
            </a:extLst>
          </p:cNvPr>
          <p:cNvSpPr txBox="1"/>
          <p:nvPr/>
        </p:nvSpPr>
        <p:spPr>
          <a:xfrm rot="950778">
            <a:off x="6593594" y="5717097"/>
            <a:ext cx="374776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1400" dirty="0">
                <a:solidFill>
                  <a:srgbClr val="FFC000"/>
                </a:solidFill>
              </a:rPr>
              <a:t>Kan vi får eksempel fra BVS evt BBR med også?</a:t>
            </a:r>
          </a:p>
          <a:p>
            <a:pPr algn="ctr"/>
            <a:endParaRPr lang="da-DK" sz="14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0544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_KwxRjJEPmnY_WbU42FQ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_KwxRjJEPmnY_WbU42FQ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DC 1">
  <a:themeElements>
    <a:clrScheme name="EDC">
      <a:dk1>
        <a:srgbClr val="0D2E4D"/>
      </a:dk1>
      <a:lt1>
        <a:srgbClr val="FFFFFF"/>
      </a:lt1>
      <a:dk2>
        <a:srgbClr val="164573"/>
      </a:dk2>
      <a:lt2>
        <a:srgbClr val="F3F7F7"/>
      </a:lt2>
      <a:accent1>
        <a:srgbClr val="164573"/>
      </a:accent1>
      <a:accent2>
        <a:srgbClr val="5E7C9A"/>
      </a:accent2>
      <a:accent3>
        <a:srgbClr val="93B0CD"/>
      </a:accent3>
      <a:accent4>
        <a:srgbClr val="D2DFE0"/>
      </a:accent4>
      <a:accent5>
        <a:srgbClr val="555555"/>
      </a:accent5>
      <a:accent6>
        <a:srgbClr val="878787"/>
      </a:accent6>
      <a:hlink>
        <a:srgbClr val="4DC3D3"/>
      </a:hlink>
      <a:folHlink>
        <a:srgbClr val="93B0CD"/>
      </a:folHlink>
    </a:clrScheme>
    <a:fontScheme name="A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 w="15875">
          <a:noFill/>
        </a:ln>
        <a:effectLst>
          <a:outerShdw blurRad="127000" dist="50800" dir="5400000" algn="ctr" rotWithShape="0">
            <a:srgbClr val="000000">
              <a:alpha val="20000"/>
            </a:srgbClr>
          </a:outerShdw>
        </a:effectLst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5875" cmpd="sng">
          <a:solidFill>
            <a:schemeClr val="accent4"/>
          </a:solidFill>
          <a:prstDash val="solid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 smtClean="0">
            <a:solidFill>
              <a:srgbClr val="807F84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EDC_Præsentation_v1.5" id="{DBD6848D-CC29-0D4E-8486-33412CA37388}" vid="{CE9E7E15-7F81-2149-BC75-97478FEAFE29}"/>
    </a:ext>
  </a:extLst>
</a:theme>
</file>

<file path=ppt/theme/theme2.xml><?xml version="1.0" encoding="utf-8"?>
<a:theme xmlns:a="http://schemas.openxmlformats.org/drawingml/2006/main" name="1_EDC 1">
  <a:themeElements>
    <a:clrScheme name="EDC">
      <a:dk1>
        <a:srgbClr val="0D2E4D"/>
      </a:dk1>
      <a:lt1>
        <a:srgbClr val="FFFFFF"/>
      </a:lt1>
      <a:dk2>
        <a:srgbClr val="164573"/>
      </a:dk2>
      <a:lt2>
        <a:srgbClr val="F3F7F7"/>
      </a:lt2>
      <a:accent1>
        <a:srgbClr val="164573"/>
      </a:accent1>
      <a:accent2>
        <a:srgbClr val="5E7C9A"/>
      </a:accent2>
      <a:accent3>
        <a:srgbClr val="93B0CD"/>
      </a:accent3>
      <a:accent4>
        <a:srgbClr val="D2DFE0"/>
      </a:accent4>
      <a:accent5>
        <a:srgbClr val="555555"/>
      </a:accent5>
      <a:accent6>
        <a:srgbClr val="878787"/>
      </a:accent6>
      <a:hlink>
        <a:srgbClr val="4DC3D3"/>
      </a:hlink>
      <a:folHlink>
        <a:srgbClr val="93B0CD"/>
      </a:folHlink>
    </a:clrScheme>
    <a:fontScheme name="A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 w="15875">
          <a:noFill/>
        </a:ln>
        <a:effectLst>
          <a:outerShdw blurRad="127000" dist="50800" dir="5400000" algn="ctr" rotWithShape="0">
            <a:srgbClr val="000000">
              <a:alpha val="20000"/>
            </a:srgbClr>
          </a:outerShdw>
        </a:effectLst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5875" cmpd="sng">
          <a:solidFill>
            <a:schemeClr val="accent4"/>
          </a:solidFill>
          <a:prstDash val="solid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 smtClean="0">
            <a:solidFill>
              <a:srgbClr val="807F84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EDC_Præsentation_v1.5" id="{DBD6848D-CC29-0D4E-8486-33412CA37388}" vid="{CE9E7E15-7F81-2149-BC75-97478FEAFE29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17</TotalTime>
  <Words>756</Words>
  <Application>Microsoft Macintosh PowerPoint</Application>
  <PresentationFormat>Widescreen</PresentationFormat>
  <Paragraphs>162</Paragraphs>
  <Slides>9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8" baseType="lpstr">
      <vt:lpstr>Arial</vt:lpstr>
      <vt:lpstr>Calibri</vt:lpstr>
      <vt:lpstr>Lato</vt:lpstr>
      <vt:lpstr>Manus</vt:lpstr>
      <vt:lpstr>Roboto Condensed Light</vt:lpstr>
      <vt:lpstr>Wingdings</vt:lpstr>
      <vt:lpstr>EDC 1</vt:lpstr>
      <vt:lpstr>1_EDC 1</vt:lpstr>
      <vt:lpstr>think-cell Slide</vt:lpstr>
      <vt:lpstr>Boliga Marketingpakker </vt:lpstr>
      <vt:lpstr>SoMe katalog: Salgsbudskaber </vt:lpstr>
      <vt:lpstr>SoMe katalog: DK-kort med CTR </vt:lpstr>
      <vt:lpstr>SoMe katalog (3 annonceeksempler)   </vt:lpstr>
      <vt:lpstr>DBA: Salgsbudskaber  </vt:lpstr>
      <vt:lpstr>DBA: Annonceeksempler   </vt:lpstr>
      <vt:lpstr>DBA boligvisningside  </vt:lpstr>
      <vt:lpstr>Boliga: Salgsmateriale      </vt:lpstr>
      <vt:lpstr>Boliga eksempler    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homas Sønderstrup</dc:creator>
  <cp:lastModifiedBy>Thomas Sønderstrup</cp:lastModifiedBy>
  <cp:revision>22</cp:revision>
  <cp:lastPrinted>2023-03-15T14:12:25Z</cp:lastPrinted>
  <dcterms:created xsi:type="dcterms:W3CDTF">2023-03-15T14:08:35Z</dcterms:created>
  <dcterms:modified xsi:type="dcterms:W3CDTF">2023-03-30T13:27:55Z</dcterms:modified>
</cp:coreProperties>
</file>